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9" r:id="rId4"/>
    <p:sldMasterId id="2147483706" r:id="rId5"/>
  </p:sldMasterIdLst>
  <p:notesMasterIdLst>
    <p:notesMasterId r:id="rId14"/>
  </p:notesMasterIdLst>
  <p:sldIdLst>
    <p:sldId id="2147480890" r:id="rId6"/>
    <p:sldId id="262" r:id="rId7"/>
    <p:sldId id="2147480887" r:id="rId8"/>
    <p:sldId id="2147480896" r:id="rId9"/>
    <p:sldId id="2147480898" r:id="rId10"/>
    <p:sldId id="2147480878" r:id="rId11"/>
    <p:sldId id="2147480897" r:id="rId12"/>
    <p:sldId id="2147480899"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D65D06A2-41EF-8F49-91DC-ADD3A5E8F879}">
          <p14:sldIdLst>
            <p14:sldId id="2147480890"/>
            <p14:sldId id="262"/>
            <p14:sldId id="2147480887"/>
            <p14:sldId id="2147480896"/>
            <p14:sldId id="2147480898"/>
            <p14:sldId id="2147480878"/>
            <p14:sldId id="2147480897"/>
            <p14:sldId id="214748089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7979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38BBDC4-9196-4534-BB5D-436C5F6D8958}" v="112" dt="2024-02-29T10:36:13.036"/>
  </p1510:revLst>
</p1510:revInfo>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17" autoAdjust="0"/>
    <p:restoredTop sz="82491" autoAdjust="0"/>
  </p:normalViewPr>
  <p:slideViewPr>
    <p:cSldViewPr snapToGrid="0">
      <p:cViewPr varScale="1">
        <p:scale>
          <a:sx n="55" d="100"/>
          <a:sy n="55" d="100"/>
        </p:scale>
        <p:origin x="1212" y="36"/>
      </p:cViewPr>
      <p:guideLst/>
    </p:cSldViewPr>
  </p:slideViewPr>
  <p:notesTextViewPr>
    <p:cViewPr>
      <p:scale>
        <a:sx n="125" d="100"/>
        <a:sy n="125" d="100"/>
      </p:scale>
      <p:origin x="0" y="0"/>
    </p:cViewPr>
  </p:notesTextViewPr>
  <p:notesViewPr>
    <p:cSldViewPr>
      <p:cViewPr>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a Blasi Sanchiz" userId="ade4f707-3308-4888-b575-5e32ac6efcc8" providerId="ADAL" clId="{D38BBDC4-9196-4534-BB5D-436C5F6D8958}"/>
    <pc:docChg chg="undo custSel addSld delSld modSld sldOrd modMainMaster modSection">
      <pc:chgData name="Ana Blasi Sanchiz" userId="ade4f707-3308-4888-b575-5e32ac6efcc8" providerId="ADAL" clId="{D38BBDC4-9196-4534-BB5D-436C5F6D8958}" dt="2024-02-29T10:36:25.740" v="1132" actId="478"/>
      <pc:docMkLst>
        <pc:docMk/>
      </pc:docMkLst>
      <pc:sldChg chg="ord">
        <pc:chgData name="Ana Blasi Sanchiz" userId="ade4f707-3308-4888-b575-5e32ac6efcc8" providerId="ADAL" clId="{D38BBDC4-9196-4534-BB5D-436C5F6D8958}" dt="2024-01-31T09:03:37.328" v="394"/>
        <pc:sldMkLst>
          <pc:docMk/>
          <pc:sldMk cId="737499137" sldId="263"/>
        </pc:sldMkLst>
      </pc:sldChg>
      <pc:sldChg chg="delSp mod">
        <pc:chgData name="Ana Blasi Sanchiz" userId="ade4f707-3308-4888-b575-5e32ac6efcc8" providerId="ADAL" clId="{D38BBDC4-9196-4534-BB5D-436C5F6D8958}" dt="2024-02-28T15:53:57.817" v="1032" actId="478"/>
        <pc:sldMkLst>
          <pc:docMk/>
          <pc:sldMk cId="2746521288" sldId="265"/>
        </pc:sldMkLst>
        <pc:spChg chg="del">
          <ac:chgData name="Ana Blasi Sanchiz" userId="ade4f707-3308-4888-b575-5e32ac6efcc8" providerId="ADAL" clId="{D38BBDC4-9196-4534-BB5D-436C5F6D8958}" dt="2024-02-28T15:53:57.817" v="1032" actId="478"/>
          <ac:spMkLst>
            <pc:docMk/>
            <pc:sldMk cId="2746521288" sldId="265"/>
            <ac:spMk id="4" creationId="{30872C0B-2C72-9936-64FA-45DB656A50A9}"/>
          </ac:spMkLst>
        </pc:spChg>
      </pc:sldChg>
      <pc:sldChg chg="addSp delSp modSp mod">
        <pc:chgData name="Ana Blasi Sanchiz" userId="ade4f707-3308-4888-b575-5e32ac6efcc8" providerId="ADAL" clId="{D38BBDC4-9196-4534-BB5D-436C5F6D8958}" dt="2024-02-28T16:06:04.700" v="1073" actId="14100"/>
        <pc:sldMkLst>
          <pc:docMk/>
          <pc:sldMk cId="222455389" sldId="266"/>
        </pc:sldMkLst>
        <pc:spChg chg="mod">
          <ac:chgData name="Ana Blasi Sanchiz" userId="ade4f707-3308-4888-b575-5e32ac6efcc8" providerId="ADAL" clId="{D38BBDC4-9196-4534-BB5D-436C5F6D8958}" dt="2024-02-28T15:53:39.766" v="1030" actId="20577"/>
          <ac:spMkLst>
            <pc:docMk/>
            <pc:sldMk cId="222455389" sldId="266"/>
            <ac:spMk id="2" creationId="{DBA4F0ED-8C9F-9AB2-E878-1B50C5E8B7BD}"/>
          </ac:spMkLst>
        </pc:spChg>
        <pc:spChg chg="add del mod">
          <ac:chgData name="Ana Blasi Sanchiz" userId="ade4f707-3308-4888-b575-5e32ac6efcc8" providerId="ADAL" clId="{D38BBDC4-9196-4534-BB5D-436C5F6D8958}" dt="2024-02-28T15:53:20.594" v="1022" actId="11529"/>
          <ac:spMkLst>
            <pc:docMk/>
            <pc:sldMk cId="222455389" sldId="266"/>
            <ac:spMk id="3" creationId="{EE5F50D5-51CE-CE11-222F-6A22EFD9AA33}"/>
          </ac:spMkLst>
        </pc:spChg>
        <pc:spChg chg="add mod">
          <ac:chgData name="Ana Blasi Sanchiz" userId="ade4f707-3308-4888-b575-5e32ac6efcc8" providerId="ADAL" clId="{D38BBDC4-9196-4534-BB5D-436C5F6D8958}" dt="2024-02-28T16:06:04.700" v="1073" actId="14100"/>
          <ac:spMkLst>
            <pc:docMk/>
            <pc:sldMk cId="222455389" sldId="266"/>
            <ac:spMk id="4" creationId="{CC512E9A-35C3-DAA1-5CE6-64EDF8E62DAF}"/>
          </ac:spMkLst>
        </pc:spChg>
        <pc:spChg chg="add del">
          <ac:chgData name="Ana Blasi Sanchiz" userId="ade4f707-3308-4888-b575-5e32ac6efcc8" providerId="ADAL" clId="{D38BBDC4-9196-4534-BB5D-436C5F6D8958}" dt="2024-02-28T15:53:44.649" v="1031" actId="478"/>
          <ac:spMkLst>
            <pc:docMk/>
            <pc:sldMk cId="222455389" sldId="266"/>
            <ac:spMk id="6" creationId="{3CCB940C-6B27-466E-561D-1B90A12A81FA}"/>
          </ac:spMkLst>
        </pc:spChg>
        <pc:spChg chg="mod">
          <ac:chgData name="Ana Blasi Sanchiz" userId="ade4f707-3308-4888-b575-5e32ac6efcc8" providerId="ADAL" clId="{D38BBDC4-9196-4534-BB5D-436C5F6D8958}" dt="2024-02-28T15:53:16.703" v="1016" actId="1076"/>
          <ac:spMkLst>
            <pc:docMk/>
            <pc:sldMk cId="222455389" sldId="266"/>
            <ac:spMk id="8" creationId="{30DE224D-1BFB-06D8-A607-85AD53294A67}"/>
          </ac:spMkLst>
        </pc:spChg>
      </pc:sldChg>
      <pc:sldChg chg="modSp mod modNotesTx">
        <pc:chgData name="Ana Blasi Sanchiz" userId="ade4f707-3308-4888-b575-5e32ac6efcc8" providerId="ADAL" clId="{D38BBDC4-9196-4534-BB5D-436C5F6D8958}" dt="2024-02-27T18:19:22.363" v="955" actId="20577"/>
        <pc:sldMkLst>
          <pc:docMk/>
          <pc:sldMk cId="4151877612" sldId="271"/>
        </pc:sldMkLst>
        <pc:grpChg chg="mod">
          <ac:chgData name="Ana Blasi Sanchiz" userId="ade4f707-3308-4888-b575-5e32ac6efcc8" providerId="ADAL" clId="{D38BBDC4-9196-4534-BB5D-436C5F6D8958}" dt="2024-02-27T18:19:11.004" v="953" actId="14100"/>
          <ac:grpSpMkLst>
            <pc:docMk/>
            <pc:sldMk cId="4151877612" sldId="271"/>
            <ac:grpSpMk id="10" creationId="{40888B12-BCCA-B076-CE6D-E72908C2616F}"/>
          </ac:grpSpMkLst>
        </pc:grpChg>
      </pc:sldChg>
      <pc:sldChg chg="delSp modSp mod modNotesTx">
        <pc:chgData name="Ana Blasi Sanchiz" userId="ade4f707-3308-4888-b575-5e32ac6efcc8" providerId="ADAL" clId="{D38BBDC4-9196-4534-BB5D-436C5F6D8958}" dt="2024-02-28T15:59:28.549" v="1042" actId="478"/>
        <pc:sldMkLst>
          <pc:docMk/>
          <pc:sldMk cId="1284213670" sldId="272"/>
        </pc:sldMkLst>
        <pc:spChg chg="del">
          <ac:chgData name="Ana Blasi Sanchiz" userId="ade4f707-3308-4888-b575-5e32ac6efcc8" providerId="ADAL" clId="{D38BBDC4-9196-4534-BB5D-436C5F6D8958}" dt="2024-02-28T15:59:28.549" v="1042" actId="478"/>
          <ac:spMkLst>
            <pc:docMk/>
            <pc:sldMk cId="1284213670" sldId="272"/>
            <ac:spMk id="4" creationId="{74B1AF27-0D46-8F78-3046-38792C6AD8A7}"/>
          </ac:spMkLst>
        </pc:spChg>
        <pc:spChg chg="mod">
          <ac:chgData name="Ana Blasi Sanchiz" userId="ade4f707-3308-4888-b575-5e32ac6efcc8" providerId="ADAL" clId="{D38BBDC4-9196-4534-BB5D-436C5F6D8958}" dt="2024-02-22T13:59:27.738" v="768" actId="313"/>
          <ac:spMkLst>
            <pc:docMk/>
            <pc:sldMk cId="1284213670" sldId="272"/>
            <ac:spMk id="23" creationId="{B78F8B1B-186F-11C4-7B26-A7ABE96DD927}"/>
          </ac:spMkLst>
        </pc:spChg>
        <pc:grpChg chg="mod">
          <ac:chgData name="Ana Blasi Sanchiz" userId="ade4f707-3308-4888-b575-5e32ac6efcc8" providerId="ADAL" clId="{D38BBDC4-9196-4534-BB5D-436C5F6D8958}" dt="2024-02-01T15:29:50.122" v="734" actId="1076"/>
          <ac:grpSpMkLst>
            <pc:docMk/>
            <pc:sldMk cId="1284213670" sldId="272"/>
            <ac:grpSpMk id="30" creationId="{85E8889B-05FB-901F-6C90-DDF05A862E01}"/>
          </ac:grpSpMkLst>
        </pc:grpChg>
      </pc:sldChg>
      <pc:sldChg chg="addSp delSp modSp mod modNotesTx">
        <pc:chgData name="Ana Blasi Sanchiz" userId="ade4f707-3308-4888-b575-5e32ac6efcc8" providerId="ADAL" clId="{D38BBDC4-9196-4534-BB5D-436C5F6D8958}" dt="2024-02-29T10:36:25.740" v="1132" actId="478"/>
        <pc:sldMkLst>
          <pc:docMk/>
          <pc:sldMk cId="2101858900" sldId="273"/>
        </pc:sldMkLst>
        <pc:spChg chg="mod">
          <ac:chgData name="Ana Blasi Sanchiz" userId="ade4f707-3308-4888-b575-5e32ac6efcc8" providerId="ADAL" clId="{D38BBDC4-9196-4534-BB5D-436C5F6D8958}" dt="2024-02-29T10:36:10.385" v="1124"/>
          <ac:spMkLst>
            <pc:docMk/>
            <pc:sldMk cId="2101858900" sldId="273"/>
            <ac:spMk id="6" creationId="{0E163F46-37AE-2A4E-B77B-57301E61C3A9}"/>
          </ac:spMkLst>
        </pc:spChg>
        <pc:spChg chg="mod">
          <ac:chgData name="Ana Blasi Sanchiz" userId="ade4f707-3308-4888-b575-5e32ac6efcc8" providerId="ADAL" clId="{D38BBDC4-9196-4534-BB5D-436C5F6D8958}" dt="2024-02-29T10:36:10.385" v="1124"/>
          <ac:spMkLst>
            <pc:docMk/>
            <pc:sldMk cId="2101858900" sldId="273"/>
            <ac:spMk id="7" creationId="{6D2DD588-7C93-FB6C-33EE-8CA002E9C8D7}"/>
          </ac:spMkLst>
        </pc:spChg>
        <pc:spChg chg="mod">
          <ac:chgData name="Ana Blasi Sanchiz" userId="ade4f707-3308-4888-b575-5e32ac6efcc8" providerId="ADAL" clId="{D38BBDC4-9196-4534-BB5D-436C5F6D8958}" dt="2024-02-29T10:36:10.385" v="1124"/>
          <ac:spMkLst>
            <pc:docMk/>
            <pc:sldMk cId="2101858900" sldId="273"/>
            <ac:spMk id="8" creationId="{C1D8E418-1817-06C7-3996-50E955949969}"/>
          </ac:spMkLst>
        </pc:spChg>
        <pc:spChg chg="mod">
          <ac:chgData name="Ana Blasi Sanchiz" userId="ade4f707-3308-4888-b575-5e32ac6efcc8" providerId="ADAL" clId="{D38BBDC4-9196-4534-BB5D-436C5F6D8958}" dt="2024-02-29T10:36:12.340" v="1126"/>
          <ac:spMkLst>
            <pc:docMk/>
            <pc:sldMk cId="2101858900" sldId="273"/>
            <ac:spMk id="11" creationId="{E08BF817-52FE-5F5D-146C-75CFA5BC691F}"/>
          </ac:spMkLst>
        </pc:spChg>
        <pc:spChg chg="mod">
          <ac:chgData name="Ana Blasi Sanchiz" userId="ade4f707-3308-4888-b575-5e32ac6efcc8" providerId="ADAL" clId="{D38BBDC4-9196-4534-BB5D-436C5F6D8958}" dt="2024-02-29T10:36:12.340" v="1126"/>
          <ac:spMkLst>
            <pc:docMk/>
            <pc:sldMk cId="2101858900" sldId="273"/>
            <ac:spMk id="12" creationId="{89769712-1F02-2F76-08B8-8074DFDAA5CE}"/>
          </ac:spMkLst>
        </pc:spChg>
        <pc:spChg chg="mod">
          <ac:chgData name="Ana Blasi Sanchiz" userId="ade4f707-3308-4888-b575-5e32ac6efcc8" providerId="ADAL" clId="{D38BBDC4-9196-4534-BB5D-436C5F6D8958}" dt="2024-02-29T10:36:12.340" v="1126"/>
          <ac:spMkLst>
            <pc:docMk/>
            <pc:sldMk cId="2101858900" sldId="273"/>
            <ac:spMk id="13" creationId="{E4D77DF9-B3AE-FBE3-21E6-87B690B8D72F}"/>
          </ac:spMkLst>
        </pc:spChg>
        <pc:spChg chg="mod">
          <ac:chgData name="Ana Blasi Sanchiz" userId="ade4f707-3308-4888-b575-5e32ac6efcc8" providerId="ADAL" clId="{D38BBDC4-9196-4534-BB5D-436C5F6D8958}" dt="2024-02-29T10:36:13.036" v="1127"/>
          <ac:spMkLst>
            <pc:docMk/>
            <pc:sldMk cId="2101858900" sldId="273"/>
            <ac:spMk id="15" creationId="{08674DD9-20F6-5850-F0F3-CDA1A3A82C20}"/>
          </ac:spMkLst>
        </pc:spChg>
        <pc:spChg chg="mod">
          <ac:chgData name="Ana Blasi Sanchiz" userId="ade4f707-3308-4888-b575-5e32ac6efcc8" providerId="ADAL" clId="{D38BBDC4-9196-4534-BB5D-436C5F6D8958}" dt="2024-02-29T10:36:13.036" v="1127"/>
          <ac:spMkLst>
            <pc:docMk/>
            <pc:sldMk cId="2101858900" sldId="273"/>
            <ac:spMk id="16" creationId="{79E17467-023D-BABD-9BA9-610D57CFA5E8}"/>
          </ac:spMkLst>
        </pc:spChg>
        <pc:spChg chg="mod">
          <ac:chgData name="Ana Blasi Sanchiz" userId="ade4f707-3308-4888-b575-5e32ac6efcc8" providerId="ADAL" clId="{D38BBDC4-9196-4534-BB5D-436C5F6D8958}" dt="2024-01-26T10:23:14.837" v="381"/>
          <ac:spMkLst>
            <pc:docMk/>
            <pc:sldMk cId="2101858900" sldId="273"/>
            <ac:spMk id="18" creationId="{914C24D3-1BDB-E031-ACD6-D2E5FFCB71A6}"/>
          </ac:spMkLst>
        </pc:spChg>
        <pc:spChg chg="mod">
          <ac:chgData name="Ana Blasi Sanchiz" userId="ade4f707-3308-4888-b575-5e32ac6efcc8" providerId="ADAL" clId="{D38BBDC4-9196-4534-BB5D-436C5F6D8958}" dt="2024-02-29T10:36:13.036" v="1127"/>
          <ac:spMkLst>
            <pc:docMk/>
            <pc:sldMk cId="2101858900" sldId="273"/>
            <ac:spMk id="20" creationId="{9E02394F-89F2-09D1-0F80-DF434B5BA0E8}"/>
          </ac:spMkLst>
        </pc:spChg>
        <pc:grpChg chg="add del mod">
          <ac:chgData name="Ana Blasi Sanchiz" userId="ade4f707-3308-4888-b575-5e32ac6efcc8" providerId="ADAL" clId="{D38BBDC4-9196-4534-BB5D-436C5F6D8958}" dt="2024-02-29T10:36:25.740" v="1132" actId="478"/>
          <ac:grpSpMkLst>
            <pc:docMk/>
            <pc:sldMk cId="2101858900" sldId="273"/>
            <ac:grpSpMk id="2" creationId="{B151550E-4441-BC00-37CA-07004E649364}"/>
          </ac:grpSpMkLst>
        </pc:grpChg>
        <pc:grpChg chg="add del mod">
          <ac:chgData name="Ana Blasi Sanchiz" userId="ade4f707-3308-4888-b575-5e32ac6efcc8" providerId="ADAL" clId="{D38BBDC4-9196-4534-BB5D-436C5F6D8958}" dt="2024-02-29T10:36:25.740" v="1132" actId="478"/>
          <ac:grpSpMkLst>
            <pc:docMk/>
            <pc:sldMk cId="2101858900" sldId="273"/>
            <ac:grpSpMk id="10" creationId="{C4C8D255-A2EB-CB22-9DE4-905199C0C146}"/>
          </ac:grpSpMkLst>
        </pc:grpChg>
        <pc:grpChg chg="add del mod">
          <ac:chgData name="Ana Blasi Sanchiz" userId="ade4f707-3308-4888-b575-5e32ac6efcc8" providerId="ADAL" clId="{D38BBDC4-9196-4534-BB5D-436C5F6D8958}" dt="2024-02-29T10:36:25.740" v="1132" actId="478"/>
          <ac:grpSpMkLst>
            <pc:docMk/>
            <pc:sldMk cId="2101858900" sldId="273"/>
            <ac:grpSpMk id="14" creationId="{00118E71-EE8E-B1AC-2570-5FEEF755D908}"/>
          </ac:grpSpMkLst>
        </pc:grpChg>
        <pc:grpChg chg="mod">
          <ac:chgData name="Ana Blasi Sanchiz" userId="ade4f707-3308-4888-b575-5e32ac6efcc8" providerId="ADAL" clId="{D38BBDC4-9196-4534-BB5D-436C5F6D8958}" dt="2024-02-29T10:36:23.263" v="1130" actId="1076"/>
          <ac:grpSpMkLst>
            <pc:docMk/>
            <pc:sldMk cId="2101858900" sldId="273"/>
            <ac:grpSpMk id="19" creationId="{24D6E2C2-6248-516D-C582-E8DD34B9C68B}"/>
          </ac:grpSpMkLst>
        </pc:grpChg>
      </pc:sldChg>
      <pc:sldChg chg="delSp modSp mod">
        <pc:chgData name="Ana Blasi Sanchiz" userId="ade4f707-3308-4888-b575-5e32ac6efcc8" providerId="ADAL" clId="{D38BBDC4-9196-4534-BB5D-436C5F6D8958}" dt="2024-02-28T16:00:30.459" v="1054" actId="255"/>
        <pc:sldMkLst>
          <pc:docMk/>
          <pc:sldMk cId="2475390000" sldId="274"/>
        </pc:sldMkLst>
        <pc:spChg chg="del">
          <ac:chgData name="Ana Blasi Sanchiz" userId="ade4f707-3308-4888-b575-5e32ac6efcc8" providerId="ADAL" clId="{D38BBDC4-9196-4534-BB5D-436C5F6D8958}" dt="2024-02-28T15:55:49.369" v="1037" actId="478"/>
          <ac:spMkLst>
            <pc:docMk/>
            <pc:sldMk cId="2475390000" sldId="274"/>
            <ac:spMk id="4" creationId="{0591E8AE-C3AA-EB14-337F-A42B66C76296}"/>
          </ac:spMkLst>
        </pc:spChg>
        <pc:spChg chg="mod">
          <ac:chgData name="Ana Blasi Sanchiz" userId="ade4f707-3308-4888-b575-5e32ac6efcc8" providerId="ADAL" clId="{D38BBDC4-9196-4534-BB5D-436C5F6D8958}" dt="2024-02-22T14:00:00.194" v="782"/>
          <ac:spMkLst>
            <pc:docMk/>
            <pc:sldMk cId="2475390000" sldId="274"/>
            <ac:spMk id="12" creationId="{3AF48A33-2600-2650-70C4-852A7F9669F6}"/>
          </ac:spMkLst>
        </pc:spChg>
        <pc:spChg chg="mod">
          <ac:chgData name="Ana Blasi Sanchiz" userId="ade4f707-3308-4888-b575-5e32ac6efcc8" providerId="ADAL" clId="{D38BBDC4-9196-4534-BB5D-436C5F6D8958}" dt="2024-02-28T16:00:30.459" v="1054" actId="255"/>
          <ac:spMkLst>
            <pc:docMk/>
            <pc:sldMk cId="2475390000" sldId="274"/>
            <ac:spMk id="27" creationId="{2197C01F-0F4E-C94E-B092-53ED659B7BDE}"/>
          </ac:spMkLst>
        </pc:spChg>
        <pc:spChg chg="mod">
          <ac:chgData name="Ana Blasi Sanchiz" userId="ade4f707-3308-4888-b575-5e32ac6efcc8" providerId="ADAL" clId="{D38BBDC4-9196-4534-BB5D-436C5F6D8958}" dt="2024-02-28T16:00:24.308" v="1053" actId="255"/>
          <ac:spMkLst>
            <pc:docMk/>
            <pc:sldMk cId="2475390000" sldId="274"/>
            <ac:spMk id="28" creationId="{B8DBE09D-6AC0-FF9B-AD44-5A6F1910145C}"/>
          </ac:spMkLst>
        </pc:spChg>
      </pc:sldChg>
      <pc:sldChg chg="delSp mod">
        <pc:chgData name="Ana Blasi Sanchiz" userId="ade4f707-3308-4888-b575-5e32ac6efcc8" providerId="ADAL" clId="{D38BBDC4-9196-4534-BB5D-436C5F6D8958}" dt="2024-02-28T15:55:32.327" v="1036" actId="478"/>
        <pc:sldMkLst>
          <pc:docMk/>
          <pc:sldMk cId="516308081" sldId="279"/>
        </pc:sldMkLst>
        <pc:spChg chg="del">
          <ac:chgData name="Ana Blasi Sanchiz" userId="ade4f707-3308-4888-b575-5e32ac6efcc8" providerId="ADAL" clId="{D38BBDC4-9196-4534-BB5D-436C5F6D8958}" dt="2024-02-28T15:55:32.327" v="1036" actId="478"/>
          <ac:spMkLst>
            <pc:docMk/>
            <pc:sldMk cId="516308081" sldId="279"/>
            <ac:spMk id="4" creationId="{3C195BAD-8E92-5C60-558B-9EC044701FEB}"/>
          </ac:spMkLst>
        </pc:spChg>
      </pc:sldChg>
      <pc:sldChg chg="delSp mod">
        <pc:chgData name="Ana Blasi Sanchiz" userId="ade4f707-3308-4888-b575-5e32ac6efcc8" providerId="ADAL" clId="{D38BBDC4-9196-4534-BB5D-436C5F6D8958}" dt="2024-02-28T15:55:24.768" v="1035" actId="478"/>
        <pc:sldMkLst>
          <pc:docMk/>
          <pc:sldMk cId="4100753210" sldId="280"/>
        </pc:sldMkLst>
        <pc:spChg chg="del">
          <ac:chgData name="Ana Blasi Sanchiz" userId="ade4f707-3308-4888-b575-5e32ac6efcc8" providerId="ADAL" clId="{D38BBDC4-9196-4534-BB5D-436C5F6D8958}" dt="2024-02-28T15:55:24.768" v="1035" actId="478"/>
          <ac:spMkLst>
            <pc:docMk/>
            <pc:sldMk cId="4100753210" sldId="280"/>
            <ac:spMk id="4" creationId="{836DD6E1-3DB6-19FA-BA77-C37765471D8F}"/>
          </ac:spMkLst>
        </pc:spChg>
      </pc:sldChg>
      <pc:sldChg chg="delSp modSp del mod">
        <pc:chgData name="Ana Blasi Sanchiz" userId="ade4f707-3308-4888-b575-5e32ac6efcc8" providerId="ADAL" clId="{D38BBDC4-9196-4534-BB5D-436C5F6D8958}" dt="2024-02-28T16:17:09.091" v="1123" actId="47"/>
        <pc:sldMkLst>
          <pc:docMk/>
          <pc:sldMk cId="413992124" sldId="281"/>
        </pc:sldMkLst>
        <pc:spChg chg="mod">
          <ac:chgData name="Ana Blasi Sanchiz" userId="ade4f707-3308-4888-b575-5e32ac6efcc8" providerId="ADAL" clId="{D38BBDC4-9196-4534-BB5D-436C5F6D8958}" dt="2024-02-28T15:23:38.566" v="1001" actId="14100"/>
          <ac:spMkLst>
            <pc:docMk/>
            <pc:sldMk cId="413992124" sldId="281"/>
            <ac:spMk id="2" creationId="{B7809DD5-3B67-C3C8-5360-901E9810CB47}"/>
          </ac:spMkLst>
        </pc:spChg>
        <pc:spChg chg="mod">
          <ac:chgData name="Ana Blasi Sanchiz" userId="ade4f707-3308-4888-b575-5e32ac6efcc8" providerId="ADAL" clId="{D38BBDC4-9196-4534-BB5D-436C5F6D8958}" dt="2024-02-28T15:23:26.840" v="999" actId="255"/>
          <ac:spMkLst>
            <pc:docMk/>
            <pc:sldMk cId="413992124" sldId="281"/>
            <ac:spMk id="3" creationId="{A7312A37-5689-8A3E-6E12-92B164986689}"/>
          </ac:spMkLst>
        </pc:spChg>
        <pc:spChg chg="del mod">
          <ac:chgData name="Ana Blasi Sanchiz" userId="ade4f707-3308-4888-b575-5e32ac6efcc8" providerId="ADAL" clId="{D38BBDC4-9196-4534-BB5D-436C5F6D8958}" dt="2024-02-28T15:23:09.778" v="993" actId="478"/>
          <ac:spMkLst>
            <pc:docMk/>
            <pc:sldMk cId="413992124" sldId="281"/>
            <ac:spMk id="4" creationId="{5F845901-F172-D5A7-D8D3-A0ABBA253EB3}"/>
          </ac:spMkLst>
        </pc:spChg>
        <pc:spChg chg="del">
          <ac:chgData name="Ana Blasi Sanchiz" userId="ade4f707-3308-4888-b575-5e32ac6efcc8" providerId="ADAL" clId="{D38BBDC4-9196-4534-BB5D-436C5F6D8958}" dt="2024-02-28T15:23:01.916" v="991" actId="478"/>
          <ac:spMkLst>
            <pc:docMk/>
            <pc:sldMk cId="413992124" sldId="281"/>
            <ac:spMk id="5" creationId="{24201F38-9F87-7EFB-DA80-42370F7B717D}"/>
          </ac:spMkLst>
        </pc:spChg>
        <pc:spChg chg="del">
          <ac:chgData name="Ana Blasi Sanchiz" userId="ade4f707-3308-4888-b575-5e32ac6efcc8" providerId="ADAL" clId="{D38BBDC4-9196-4534-BB5D-436C5F6D8958}" dt="2024-02-28T15:22:49.264" v="986" actId="478"/>
          <ac:spMkLst>
            <pc:docMk/>
            <pc:sldMk cId="413992124" sldId="281"/>
            <ac:spMk id="6" creationId="{5313AD15-E5C2-72B5-95C4-0A7FFB5631B0}"/>
          </ac:spMkLst>
        </pc:spChg>
        <pc:spChg chg="del">
          <ac:chgData name="Ana Blasi Sanchiz" userId="ade4f707-3308-4888-b575-5e32ac6efcc8" providerId="ADAL" clId="{D38BBDC4-9196-4534-BB5D-436C5F6D8958}" dt="2024-02-28T15:23:01.916" v="991" actId="478"/>
          <ac:spMkLst>
            <pc:docMk/>
            <pc:sldMk cId="413992124" sldId="281"/>
            <ac:spMk id="7" creationId="{AC6638FE-4E07-38D8-9ED5-1665637E4017}"/>
          </ac:spMkLst>
        </pc:spChg>
        <pc:spChg chg="del">
          <ac:chgData name="Ana Blasi Sanchiz" userId="ade4f707-3308-4888-b575-5e32ac6efcc8" providerId="ADAL" clId="{D38BBDC4-9196-4534-BB5D-436C5F6D8958}" dt="2024-02-28T15:22:49.264" v="986" actId="478"/>
          <ac:spMkLst>
            <pc:docMk/>
            <pc:sldMk cId="413992124" sldId="281"/>
            <ac:spMk id="8" creationId="{0148BCEB-D2AC-D380-2F26-B8651306A122}"/>
          </ac:spMkLst>
        </pc:spChg>
        <pc:spChg chg="del">
          <ac:chgData name="Ana Blasi Sanchiz" userId="ade4f707-3308-4888-b575-5e32ac6efcc8" providerId="ADAL" clId="{D38BBDC4-9196-4534-BB5D-436C5F6D8958}" dt="2024-02-28T15:23:01.916" v="991" actId="478"/>
          <ac:spMkLst>
            <pc:docMk/>
            <pc:sldMk cId="413992124" sldId="281"/>
            <ac:spMk id="9" creationId="{6D1D1D06-0CFA-F3F7-4F0A-CE8389968781}"/>
          </ac:spMkLst>
        </pc:spChg>
        <pc:spChg chg="del">
          <ac:chgData name="Ana Blasi Sanchiz" userId="ade4f707-3308-4888-b575-5e32ac6efcc8" providerId="ADAL" clId="{D38BBDC4-9196-4534-BB5D-436C5F6D8958}" dt="2024-02-28T15:22:49.264" v="986" actId="478"/>
          <ac:spMkLst>
            <pc:docMk/>
            <pc:sldMk cId="413992124" sldId="281"/>
            <ac:spMk id="10" creationId="{D50FD22B-DCA0-7DFE-CEBA-853F46BABC00}"/>
          </ac:spMkLst>
        </pc:spChg>
      </pc:sldChg>
      <pc:sldChg chg="addSp delSp modSp mod">
        <pc:chgData name="Ana Blasi Sanchiz" userId="ade4f707-3308-4888-b575-5e32ac6efcc8" providerId="ADAL" clId="{D38BBDC4-9196-4534-BB5D-436C5F6D8958}" dt="2024-02-28T16:08:12.060" v="1090" actId="120"/>
        <pc:sldMkLst>
          <pc:docMk/>
          <pc:sldMk cId="2222758193" sldId="282"/>
        </pc:sldMkLst>
        <pc:spChg chg="add mod ord">
          <ac:chgData name="Ana Blasi Sanchiz" userId="ade4f707-3308-4888-b575-5e32ac6efcc8" providerId="ADAL" clId="{D38BBDC4-9196-4534-BB5D-436C5F6D8958}" dt="2024-02-28T16:08:12.060" v="1090" actId="120"/>
          <ac:spMkLst>
            <pc:docMk/>
            <pc:sldMk cId="2222758193" sldId="282"/>
            <ac:spMk id="2" creationId="{EFDF62EA-D0FF-6393-A66F-4BF513FCBBD6}"/>
          </ac:spMkLst>
        </pc:spChg>
        <pc:spChg chg="del">
          <ac:chgData name="Ana Blasi Sanchiz" userId="ade4f707-3308-4888-b575-5e32ac6efcc8" providerId="ADAL" clId="{D38BBDC4-9196-4534-BB5D-436C5F6D8958}" dt="2024-02-28T16:06:44.549" v="1079"/>
          <ac:spMkLst>
            <pc:docMk/>
            <pc:sldMk cId="2222758193" sldId="282"/>
            <ac:spMk id="3" creationId="{C43E122E-FE61-A502-CA23-3AA769383593}"/>
          </ac:spMkLst>
        </pc:spChg>
        <pc:spChg chg="ord">
          <ac:chgData name="Ana Blasi Sanchiz" userId="ade4f707-3308-4888-b575-5e32ac6efcc8" providerId="ADAL" clId="{D38BBDC4-9196-4534-BB5D-436C5F6D8958}" dt="2024-02-28T16:06:54.828" v="1082" actId="166"/>
          <ac:spMkLst>
            <pc:docMk/>
            <pc:sldMk cId="2222758193" sldId="282"/>
            <ac:spMk id="14" creationId="{0FF6194B-0AD3-90CF-C84D-C58E6399C9A8}"/>
          </ac:spMkLst>
        </pc:spChg>
        <pc:spChg chg="ord">
          <ac:chgData name="Ana Blasi Sanchiz" userId="ade4f707-3308-4888-b575-5e32ac6efcc8" providerId="ADAL" clId="{D38BBDC4-9196-4534-BB5D-436C5F6D8958}" dt="2024-02-28T16:06:59.227" v="1083" actId="166"/>
          <ac:spMkLst>
            <pc:docMk/>
            <pc:sldMk cId="2222758193" sldId="282"/>
            <ac:spMk id="15" creationId="{40065990-BA7E-C266-AD01-694E22D9BD38}"/>
          </ac:spMkLst>
        </pc:spChg>
        <pc:graphicFrameChg chg="mod ord modGraphic">
          <ac:chgData name="Ana Blasi Sanchiz" userId="ade4f707-3308-4888-b575-5e32ac6efcc8" providerId="ADAL" clId="{D38BBDC4-9196-4534-BB5D-436C5F6D8958}" dt="2024-02-28T16:07:53.743" v="1087"/>
          <ac:graphicFrameMkLst>
            <pc:docMk/>
            <pc:sldMk cId="2222758193" sldId="282"/>
            <ac:graphicFrameMk id="16" creationId="{0D535A8F-0267-D9E8-06E0-D09979048D43}"/>
          </ac:graphicFrameMkLst>
        </pc:graphicFrameChg>
      </pc:sldChg>
      <pc:sldChg chg="addSp modSp mod">
        <pc:chgData name="Ana Blasi Sanchiz" userId="ade4f707-3308-4888-b575-5e32ac6efcc8" providerId="ADAL" clId="{D38BBDC4-9196-4534-BB5D-436C5F6D8958}" dt="2024-02-28T16:06:25.543" v="1078" actId="14100"/>
        <pc:sldMkLst>
          <pc:docMk/>
          <pc:sldMk cId="2820351508" sldId="283"/>
        </pc:sldMkLst>
        <pc:spChg chg="add mod ord">
          <ac:chgData name="Ana Blasi Sanchiz" userId="ade4f707-3308-4888-b575-5e32ac6efcc8" providerId="ADAL" clId="{D38BBDC4-9196-4534-BB5D-436C5F6D8958}" dt="2024-02-28T16:06:25.543" v="1078" actId="14100"/>
          <ac:spMkLst>
            <pc:docMk/>
            <pc:sldMk cId="2820351508" sldId="283"/>
            <ac:spMk id="2" creationId="{81295B53-0852-7879-D1B2-8C3A1C7B7C6C}"/>
          </ac:spMkLst>
        </pc:spChg>
        <pc:spChg chg="mod ord">
          <ac:chgData name="Ana Blasi Sanchiz" userId="ade4f707-3308-4888-b575-5e32ac6efcc8" providerId="ADAL" clId="{D38BBDC4-9196-4534-BB5D-436C5F6D8958}" dt="2024-02-28T16:06:21.891" v="1077" actId="167"/>
          <ac:spMkLst>
            <pc:docMk/>
            <pc:sldMk cId="2820351508" sldId="283"/>
            <ac:spMk id="3" creationId="{6015511F-2310-2ADF-E54E-9605930D9EF3}"/>
          </ac:spMkLst>
        </pc:spChg>
        <pc:spChg chg="mod">
          <ac:chgData name="Ana Blasi Sanchiz" userId="ade4f707-3308-4888-b575-5e32ac6efcc8" providerId="ADAL" clId="{D38BBDC4-9196-4534-BB5D-436C5F6D8958}" dt="2024-02-28T15:54:11.468" v="1034" actId="1076"/>
          <ac:spMkLst>
            <pc:docMk/>
            <pc:sldMk cId="2820351508" sldId="283"/>
            <ac:spMk id="11" creationId="{AD384BDF-94F8-4A9C-0C25-CA403ACC6349}"/>
          </ac:spMkLst>
        </pc:spChg>
      </pc:sldChg>
      <pc:sldChg chg="delSp modSp add del mod">
        <pc:chgData name="Ana Blasi Sanchiz" userId="ade4f707-3308-4888-b575-5e32ac6efcc8" providerId="ADAL" clId="{D38BBDC4-9196-4534-BB5D-436C5F6D8958}" dt="2024-01-25T17:24:38.028" v="187" actId="47"/>
        <pc:sldMkLst>
          <pc:docMk/>
          <pc:sldMk cId="750239634" sldId="1831"/>
        </pc:sldMkLst>
        <pc:spChg chg="mod">
          <ac:chgData name="Ana Blasi Sanchiz" userId="ade4f707-3308-4888-b575-5e32ac6efcc8" providerId="ADAL" clId="{D38BBDC4-9196-4534-BB5D-436C5F6D8958}" dt="2024-01-25T17:21:31.808" v="97" actId="14100"/>
          <ac:spMkLst>
            <pc:docMk/>
            <pc:sldMk cId="750239634" sldId="1831"/>
            <ac:spMk id="39" creationId="{8856BC58-6183-4CDB-907F-7743A304BA7F}"/>
          </ac:spMkLst>
        </pc:spChg>
        <pc:spChg chg="del">
          <ac:chgData name="Ana Blasi Sanchiz" userId="ade4f707-3308-4888-b575-5e32ac6efcc8" providerId="ADAL" clId="{D38BBDC4-9196-4534-BB5D-436C5F6D8958}" dt="2024-01-25T17:22:21.681" v="127" actId="478"/>
          <ac:spMkLst>
            <pc:docMk/>
            <pc:sldMk cId="750239634" sldId="1831"/>
            <ac:spMk id="49" creationId="{DCD5C669-9E5F-4AAA-816E-E41620CD78DF}"/>
          </ac:spMkLst>
        </pc:spChg>
      </pc:sldChg>
      <pc:sldChg chg="modSp add mod">
        <pc:chgData name="Ana Blasi Sanchiz" userId="ade4f707-3308-4888-b575-5e32ac6efcc8" providerId="ADAL" clId="{D38BBDC4-9196-4534-BB5D-436C5F6D8958}" dt="2024-02-05T16:43:22.489" v="737" actId="14100"/>
        <pc:sldMkLst>
          <pc:docMk/>
          <pc:sldMk cId="3945675158" sldId="1881838621"/>
        </pc:sldMkLst>
        <pc:spChg chg="mod">
          <ac:chgData name="Ana Blasi Sanchiz" userId="ade4f707-3308-4888-b575-5e32ac6efcc8" providerId="ADAL" clId="{D38BBDC4-9196-4534-BB5D-436C5F6D8958}" dt="2024-02-05T16:43:22.489" v="737" actId="14100"/>
          <ac:spMkLst>
            <pc:docMk/>
            <pc:sldMk cId="3945675158" sldId="1881838621"/>
            <ac:spMk id="104" creationId="{541E2B1C-1100-40B2-A20D-C86562716E54}"/>
          </ac:spMkLst>
        </pc:spChg>
      </pc:sldChg>
      <pc:sldChg chg="modSp mod">
        <pc:chgData name="Ana Blasi Sanchiz" userId="ade4f707-3308-4888-b575-5e32ac6efcc8" providerId="ADAL" clId="{D38BBDC4-9196-4534-BB5D-436C5F6D8958}" dt="2024-01-25T17:17:02.175" v="69" actId="14100"/>
        <pc:sldMkLst>
          <pc:docMk/>
          <pc:sldMk cId="1994944248" sldId="2147480859"/>
        </pc:sldMkLst>
        <pc:spChg chg="mod">
          <ac:chgData name="Ana Blasi Sanchiz" userId="ade4f707-3308-4888-b575-5e32ac6efcc8" providerId="ADAL" clId="{D38BBDC4-9196-4534-BB5D-436C5F6D8958}" dt="2024-01-25T17:17:02.175" v="69" actId="14100"/>
          <ac:spMkLst>
            <pc:docMk/>
            <pc:sldMk cId="1994944248" sldId="2147480859"/>
            <ac:spMk id="3" creationId="{CCBE3680-4488-751F-FB7F-675B16A02427}"/>
          </ac:spMkLst>
        </pc:spChg>
        <pc:spChg chg="mod">
          <ac:chgData name="Ana Blasi Sanchiz" userId="ade4f707-3308-4888-b575-5e32ac6efcc8" providerId="ADAL" clId="{D38BBDC4-9196-4534-BB5D-436C5F6D8958}" dt="2024-01-25T17:16:57.370" v="68" actId="1076"/>
          <ac:spMkLst>
            <pc:docMk/>
            <pc:sldMk cId="1994944248" sldId="2147480859"/>
            <ac:spMk id="13" creationId="{CC8CFDEA-FE51-EDB2-D540-E04D15301467}"/>
          </ac:spMkLst>
        </pc:spChg>
      </pc:sldChg>
      <pc:sldChg chg="modSp mod modNotesTx">
        <pc:chgData name="Ana Blasi Sanchiz" userId="ade4f707-3308-4888-b575-5e32ac6efcc8" providerId="ADAL" clId="{D38BBDC4-9196-4534-BB5D-436C5F6D8958}" dt="2024-02-27T18:18:59.824" v="951" actId="20577"/>
        <pc:sldMkLst>
          <pc:docMk/>
          <pc:sldMk cId="1889253712" sldId="2147480873"/>
        </pc:sldMkLst>
        <pc:spChg chg="mod">
          <ac:chgData name="Ana Blasi Sanchiz" userId="ade4f707-3308-4888-b575-5e32ac6efcc8" providerId="ADAL" clId="{D38BBDC4-9196-4534-BB5D-436C5F6D8958}" dt="2024-01-26T10:23:19.960" v="383"/>
          <ac:spMkLst>
            <pc:docMk/>
            <pc:sldMk cId="1889253712" sldId="2147480873"/>
            <ac:spMk id="34" creationId="{6F610C54-85FF-EDA0-9462-6192E80E2307}"/>
          </ac:spMkLst>
        </pc:spChg>
      </pc:sldChg>
      <pc:sldChg chg="modSp mod">
        <pc:chgData name="Ana Blasi Sanchiz" userId="ade4f707-3308-4888-b575-5e32ac6efcc8" providerId="ADAL" clId="{D38BBDC4-9196-4534-BB5D-436C5F6D8958}" dt="2024-01-25T17:12:36.651" v="5" actId="20577"/>
        <pc:sldMkLst>
          <pc:docMk/>
          <pc:sldMk cId="4100918686" sldId="2147480875"/>
        </pc:sldMkLst>
        <pc:spChg chg="mod">
          <ac:chgData name="Ana Blasi Sanchiz" userId="ade4f707-3308-4888-b575-5e32ac6efcc8" providerId="ADAL" clId="{D38BBDC4-9196-4534-BB5D-436C5F6D8958}" dt="2024-01-25T17:12:36.651" v="5" actId="20577"/>
          <ac:spMkLst>
            <pc:docMk/>
            <pc:sldMk cId="4100918686" sldId="2147480875"/>
            <ac:spMk id="5" creationId="{0988F40D-85EB-7ABC-4A18-68D2DE4339D4}"/>
          </ac:spMkLst>
        </pc:spChg>
        <pc:spChg chg="mod">
          <ac:chgData name="Ana Blasi Sanchiz" userId="ade4f707-3308-4888-b575-5e32ac6efcc8" providerId="ADAL" clId="{D38BBDC4-9196-4534-BB5D-436C5F6D8958}" dt="2024-01-25T17:12:22.840" v="1" actId="14100"/>
          <ac:spMkLst>
            <pc:docMk/>
            <pc:sldMk cId="4100918686" sldId="2147480875"/>
            <ac:spMk id="6" creationId="{9D69AC8C-9242-96C5-864D-5ADA70B64B89}"/>
          </ac:spMkLst>
        </pc:spChg>
        <pc:spChg chg="mod">
          <ac:chgData name="Ana Blasi Sanchiz" userId="ade4f707-3308-4888-b575-5e32ac6efcc8" providerId="ADAL" clId="{D38BBDC4-9196-4534-BB5D-436C5F6D8958}" dt="2024-01-25T17:12:17.899" v="0" actId="14100"/>
          <ac:spMkLst>
            <pc:docMk/>
            <pc:sldMk cId="4100918686" sldId="2147480875"/>
            <ac:spMk id="7" creationId="{AE9DAD7E-D134-9861-2969-56B9EA7C157F}"/>
          </ac:spMkLst>
        </pc:spChg>
      </pc:sldChg>
      <pc:sldChg chg="modSp mod">
        <pc:chgData name="Ana Blasi Sanchiz" userId="ade4f707-3308-4888-b575-5e32ac6efcc8" providerId="ADAL" clId="{D38BBDC4-9196-4534-BB5D-436C5F6D8958}" dt="2024-01-26T10:23:25.563" v="385"/>
        <pc:sldMkLst>
          <pc:docMk/>
          <pc:sldMk cId="1089867451" sldId="2147480877"/>
        </pc:sldMkLst>
        <pc:spChg chg="mod">
          <ac:chgData name="Ana Blasi Sanchiz" userId="ade4f707-3308-4888-b575-5e32ac6efcc8" providerId="ADAL" clId="{D38BBDC4-9196-4534-BB5D-436C5F6D8958}" dt="2024-01-26T10:23:25.563" v="385"/>
          <ac:spMkLst>
            <pc:docMk/>
            <pc:sldMk cId="1089867451" sldId="2147480877"/>
            <ac:spMk id="17" creationId="{0EF7C5E6-B3E7-637A-1FFE-627988F3D21D}"/>
          </ac:spMkLst>
        </pc:spChg>
      </pc:sldChg>
      <pc:sldChg chg="delSp modSp mod">
        <pc:chgData name="Ana Blasi Sanchiz" userId="ade4f707-3308-4888-b575-5e32ac6efcc8" providerId="ADAL" clId="{D38BBDC4-9196-4534-BB5D-436C5F6D8958}" dt="2024-02-28T16:00:08.316" v="1051" actId="255"/>
        <pc:sldMkLst>
          <pc:docMk/>
          <pc:sldMk cId="2083069848" sldId="2147480878"/>
        </pc:sldMkLst>
        <pc:spChg chg="mod">
          <ac:chgData name="Ana Blasi Sanchiz" userId="ade4f707-3308-4888-b575-5e32ac6efcc8" providerId="ADAL" clId="{D38BBDC4-9196-4534-BB5D-436C5F6D8958}" dt="2024-02-28T15:59:43.705" v="1045" actId="1076"/>
          <ac:spMkLst>
            <pc:docMk/>
            <pc:sldMk cId="2083069848" sldId="2147480878"/>
            <ac:spMk id="3" creationId="{4C06B66F-52A6-A65B-3FF1-8D94D0B20C06}"/>
          </ac:spMkLst>
        </pc:spChg>
        <pc:spChg chg="del">
          <ac:chgData name="Ana Blasi Sanchiz" userId="ade4f707-3308-4888-b575-5e32ac6efcc8" providerId="ADAL" clId="{D38BBDC4-9196-4534-BB5D-436C5F6D8958}" dt="2024-02-28T15:55:53.740" v="1038" actId="478"/>
          <ac:spMkLst>
            <pc:docMk/>
            <pc:sldMk cId="2083069848" sldId="2147480878"/>
            <ac:spMk id="4" creationId="{0591E8AE-C3AA-EB14-337F-A42B66C76296}"/>
          </ac:spMkLst>
        </pc:spChg>
        <pc:spChg chg="mod">
          <ac:chgData name="Ana Blasi Sanchiz" userId="ade4f707-3308-4888-b575-5e32ac6efcc8" providerId="ADAL" clId="{D38BBDC4-9196-4534-BB5D-436C5F6D8958}" dt="2024-02-28T15:59:37.935" v="1044" actId="1076"/>
          <ac:spMkLst>
            <pc:docMk/>
            <pc:sldMk cId="2083069848" sldId="2147480878"/>
            <ac:spMk id="5" creationId="{A5A7B773-ED10-13F5-CA65-87E8A8F4B113}"/>
          </ac:spMkLst>
        </pc:spChg>
        <pc:spChg chg="mod">
          <ac:chgData name="Ana Blasi Sanchiz" userId="ade4f707-3308-4888-b575-5e32ac6efcc8" providerId="ADAL" clId="{D38BBDC4-9196-4534-BB5D-436C5F6D8958}" dt="2024-02-22T14:02:04.519" v="785" actId="20577"/>
          <ac:spMkLst>
            <pc:docMk/>
            <pc:sldMk cId="2083069848" sldId="2147480878"/>
            <ac:spMk id="12" creationId="{3AF48A33-2600-2650-70C4-852A7F9669F6}"/>
          </ac:spMkLst>
        </pc:spChg>
        <pc:spChg chg="mod">
          <ac:chgData name="Ana Blasi Sanchiz" userId="ade4f707-3308-4888-b575-5e32ac6efcc8" providerId="ADAL" clId="{D38BBDC4-9196-4534-BB5D-436C5F6D8958}" dt="2024-02-28T16:00:08.316" v="1051" actId="255"/>
          <ac:spMkLst>
            <pc:docMk/>
            <pc:sldMk cId="2083069848" sldId="2147480878"/>
            <ac:spMk id="27" creationId="{2197C01F-0F4E-C94E-B092-53ED659B7BDE}"/>
          </ac:spMkLst>
        </pc:spChg>
        <pc:spChg chg="mod">
          <ac:chgData name="Ana Blasi Sanchiz" userId="ade4f707-3308-4888-b575-5e32ac6efcc8" providerId="ADAL" clId="{D38BBDC4-9196-4534-BB5D-436C5F6D8958}" dt="2024-02-28T15:59:57.020" v="1050" actId="255"/>
          <ac:spMkLst>
            <pc:docMk/>
            <pc:sldMk cId="2083069848" sldId="2147480878"/>
            <ac:spMk id="28" creationId="{B8DBE09D-6AC0-FF9B-AD44-5A6F1910145C}"/>
          </ac:spMkLst>
        </pc:spChg>
      </pc:sldChg>
      <pc:sldChg chg="modSp new del mod">
        <pc:chgData name="Ana Blasi Sanchiz" userId="ade4f707-3308-4888-b575-5e32ac6efcc8" providerId="ADAL" clId="{D38BBDC4-9196-4534-BB5D-436C5F6D8958}" dt="2024-01-25T17:13:20.039" v="30" actId="47"/>
        <pc:sldMkLst>
          <pc:docMk/>
          <pc:sldMk cId="1501395955" sldId="2147480879"/>
        </pc:sldMkLst>
        <pc:spChg chg="mod">
          <ac:chgData name="Ana Blasi Sanchiz" userId="ade4f707-3308-4888-b575-5e32ac6efcc8" providerId="ADAL" clId="{D38BBDC4-9196-4534-BB5D-436C5F6D8958}" dt="2024-01-25T17:13:09.412" v="29" actId="20577"/>
          <ac:spMkLst>
            <pc:docMk/>
            <pc:sldMk cId="1501395955" sldId="2147480879"/>
            <ac:spMk id="2" creationId="{2DA4F340-5F5B-8E96-A735-D4A1CC1746DC}"/>
          </ac:spMkLst>
        </pc:spChg>
      </pc:sldChg>
      <pc:sldChg chg="addSp delSp modSp new mod">
        <pc:chgData name="Ana Blasi Sanchiz" userId="ade4f707-3308-4888-b575-5e32ac6efcc8" providerId="ADAL" clId="{D38BBDC4-9196-4534-BB5D-436C5F6D8958}" dt="2024-01-25T17:29:38.678" v="285" actId="164"/>
        <pc:sldMkLst>
          <pc:docMk/>
          <pc:sldMk cId="2651553703" sldId="2147480879"/>
        </pc:sldMkLst>
        <pc:spChg chg="add del mod">
          <ac:chgData name="Ana Blasi Sanchiz" userId="ade4f707-3308-4888-b575-5e32ac6efcc8" providerId="ADAL" clId="{D38BBDC4-9196-4534-BB5D-436C5F6D8958}" dt="2024-01-25T17:21:25.539" v="94" actId="478"/>
          <ac:spMkLst>
            <pc:docMk/>
            <pc:sldMk cId="2651553703" sldId="2147480879"/>
            <ac:spMk id="5" creationId="{7F745D9E-603E-7BEC-2B1A-EEEE170CF726}"/>
          </ac:spMkLst>
        </pc:spChg>
        <pc:spChg chg="add del mod">
          <ac:chgData name="Ana Blasi Sanchiz" userId="ade4f707-3308-4888-b575-5e32ac6efcc8" providerId="ADAL" clId="{D38BBDC4-9196-4534-BB5D-436C5F6D8958}" dt="2024-01-25T17:19:04.323" v="92"/>
          <ac:spMkLst>
            <pc:docMk/>
            <pc:sldMk cId="2651553703" sldId="2147480879"/>
            <ac:spMk id="6" creationId="{0839EE3E-4A69-1DFA-0862-CCC141F753AC}"/>
          </ac:spMkLst>
        </pc:spChg>
        <pc:spChg chg="add mod">
          <ac:chgData name="Ana Blasi Sanchiz" userId="ade4f707-3308-4888-b575-5e32ac6efcc8" providerId="ADAL" clId="{D38BBDC4-9196-4534-BB5D-436C5F6D8958}" dt="2024-01-25T17:24:12.287" v="181" actId="14100"/>
          <ac:spMkLst>
            <pc:docMk/>
            <pc:sldMk cId="2651553703" sldId="2147480879"/>
            <ac:spMk id="7" creationId="{040C8692-A1BD-2DC8-1461-71DC1FC0D399}"/>
          </ac:spMkLst>
        </pc:spChg>
        <pc:spChg chg="add del mod">
          <ac:chgData name="Ana Blasi Sanchiz" userId="ade4f707-3308-4888-b575-5e32ac6efcc8" providerId="ADAL" clId="{D38BBDC4-9196-4534-BB5D-436C5F6D8958}" dt="2024-01-25T17:25:16.372" v="189" actId="478"/>
          <ac:spMkLst>
            <pc:docMk/>
            <pc:sldMk cId="2651553703" sldId="2147480879"/>
            <ac:spMk id="9" creationId="{5BC55352-64C4-3ADB-51F0-DC7D96D02F10}"/>
          </ac:spMkLst>
        </pc:spChg>
        <pc:spChg chg="add del mod">
          <ac:chgData name="Ana Blasi Sanchiz" userId="ade4f707-3308-4888-b575-5e32ac6efcc8" providerId="ADAL" clId="{D38BBDC4-9196-4534-BB5D-436C5F6D8958}" dt="2024-01-25T17:25:16.372" v="189" actId="478"/>
          <ac:spMkLst>
            <pc:docMk/>
            <pc:sldMk cId="2651553703" sldId="2147480879"/>
            <ac:spMk id="10" creationId="{7060F283-1868-A8B0-E5EC-6E3771FB070D}"/>
          </ac:spMkLst>
        </pc:spChg>
        <pc:spChg chg="add del mod">
          <ac:chgData name="Ana Blasi Sanchiz" userId="ade4f707-3308-4888-b575-5e32ac6efcc8" providerId="ADAL" clId="{D38BBDC4-9196-4534-BB5D-436C5F6D8958}" dt="2024-01-25T17:25:16.372" v="189" actId="478"/>
          <ac:spMkLst>
            <pc:docMk/>
            <pc:sldMk cId="2651553703" sldId="2147480879"/>
            <ac:spMk id="11" creationId="{C45A7D03-5554-B227-E96D-14E18BBACE59}"/>
          </ac:spMkLst>
        </pc:spChg>
        <pc:spChg chg="add del mod">
          <ac:chgData name="Ana Blasi Sanchiz" userId="ade4f707-3308-4888-b575-5e32ac6efcc8" providerId="ADAL" clId="{D38BBDC4-9196-4534-BB5D-436C5F6D8958}" dt="2024-01-25T17:25:16.372" v="189" actId="478"/>
          <ac:spMkLst>
            <pc:docMk/>
            <pc:sldMk cId="2651553703" sldId="2147480879"/>
            <ac:spMk id="12" creationId="{2C9E6CA0-4D9F-C1A6-37F0-E0800459166E}"/>
          </ac:spMkLst>
        </pc:spChg>
        <pc:spChg chg="add mod">
          <ac:chgData name="Ana Blasi Sanchiz" userId="ade4f707-3308-4888-b575-5e32ac6efcc8" providerId="ADAL" clId="{D38BBDC4-9196-4534-BB5D-436C5F6D8958}" dt="2024-01-25T17:29:38.678" v="285" actId="164"/>
          <ac:spMkLst>
            <pc:docMk/>
            <pc:sldMk cId="2651553703" sldId="2147480879"/>
            <ac:spMk id="13" creationId="{258ADD24-A13C-5F91-E1D9-72BF8986F35D}"/>
          </ac:spMkLst>
        </pc:spChg>
        <pc:spChg chg="mod topLvl">
          <ac:chgData name="Ana Blasi Sanchiz" userId="ade4f707-3308-4888-b575-5e32ac6efcc8" providerId="ADAL" clId="{D38BBDC4-9196-4534-BB5D-436C5F6D8958}" dt="2024-01-25T17:29:38.678" v="285" actId="164"/>
          <ac:spMkLst>
            <pc:docMk/>
            <pc:sldMk cId="2651553703" sldId="2147480879"/>
            <ac:spMk id="15" creationId="{56986B92-1049-BC23-0D32-0034F0A67B90}"/>
          </ac:spMkLst>
        </pc:spChg>
        <pc:spChg chg="del mod topLvl">
          <ac:chgData name="Ana Blasi Sanchiz" userId="ade4f707-3308-4888-b575-5e32ac6efcc8" providerId="ADAL" clId="{D38BBDC4-9196-4534-BB5D-436C5F6D8958}" dt="2024-01-25T17:26:48.613" v="209" actId="478"/>
          <ac:spMkLst>
            <pc:docMk/>
            <pc:sldMk cId="2651553703" sldId="2147480879"/>
            <ac:spMk id="16" creationId="{11563802-0BB6-7B76-89CC-6867FCE68173}"/>
          </ac:spMkLst>
        </pc:spChg>
        <pc:spChg chg="mod">
          <ac:chgData name="Ana Blasi Sanchiz" userId="ade4f707-3308-4888-b575-5e32ac6efcc8" providerId="ADAL" clId="{D38BBDC4-9196-4534-BB5D-436C5F6D8958}" dt="2024-01-25T17:25:16.724" v="190"/>
          <ac:spMkLst>
            <pc:docMk/>
            <pc:sldMk cId="2651553703" sldId="2147480879"/>
            <ac:spMk id="18" creationId="{F2452D3C-8DB3-D631-1AD1-5570AFA69A65}"/>
          </ac:spMkLst>
        </pc:spChg>
        <pc:spChg chg="add del">
          <ac:chgData name="Ana Blasi Sanchiz" userId="ade4f707-3308-4888-b575-5e32ac6efcc8" providerId="ADAL" clId="{D38BBDC4-9196-4534-BB5D-436C5F6D8958}" dt="2024-01-25T17:26:12.654" v="200" actId="22"/>
          <ac:spMkLst>
            <pc:docMk/>
            <pc:sldMk cId="2651553703" sldId="2147480879"/>
            <ac:spMk id="23" creationId="{EFD7B8F2-515F-B8A2-9F34-A3DE3DA54B44}"/>
          </ac:spMkLst>
        </pc:spChg>
        <pc:spChg chg="add mod">
          <ac:chgData name="Ana Blasi Sanchiz" userId="ade4f707-3308-4888-b575-5e32ac6efcc8" providerId="ADAL" clId="{D38BBDC4-9196-4534-BB5D-436C5F6D8958}" dt="2024-01-25T17:29:38.678" v="285" actId="164"/>
          <ac:spMkLst>
            <pc:docMk/>
            <pc:sldMk cId="2651553703" sldId="2147480879"/>
            <ac:spMk id="24" creationId="{8EF5A917-645A-D8C0-9DC1-F6AA5D5A8F45}"/>
          </ac:spMkLst>
        </pc:spChg>
        <pc:grpChg chg="add del mod">
          <ac:chgData name="Ana Blasi Sanchiz" userId="ade4f707-3308-4888-b575-5e32ac6efcc8" providerId="ADAL" clId="{D38BBDC4-9196-4534-BB5D-436C5F6D8958}" dt="2024-01-25T17:26:48.613" v="209" actId="478"/>
          <ac:grpSpMkLst>
            <pc:docMk/>
            <pc:sldMk cId="2651553703" sldId="2147480879"/>
            <ac:grpSpMk id="14" creationId="{928E8326-C346-BAF5-8073-09F90A3A1447}"/>
          </ac:grpSpMkLst>
        </pc:grpChg>
        <pc:grpChg chg="add mod">
          <ac:chgData name="Ana Blasi Sanchiz" userId="ade4f707-3308-4888-b575-5e32ac6efcc8" providerId="ADAL" clId="{D38BBDC4-9196-4534-BB5D-436C5F6D8958}" dt="2024-01-25T17:29:38.678" v="285" actId="164"/>
          <ac:grpSpMkLst>
            <pc:docMk/>
            <pc:sldMk cId="2651553703" sldId="2147480879"/>
            <ac:grpSpMk id="17" creationId="{EDFF89CC-0483-6BD4-E803-E440DD66AD2D}"/>
          </ac:grpSpMkLst>
        </pc:grpChg>
        <pc:grpChg chg="mod">
          <ac:chgData name="Ana Blasi Sanchiz" userId="ade4f707-3308-4888-b575-5e32ac6efcc8" providerId="ADAL" clId="{D38BBDC4-9196-4534-BB5D-436C5F6D8958}" dt="2024-01-25T17:25:16.724" v="190"/>
          <ac:grpSpMkLst>
            <pc:docMk/>
            <pc:sldMk cId="2651553703" sldId="2147480879"/>
            <ac:grpSpMk id="19" creationId="{23E73B0F-C0C0-036E-D95B-4660450F4DD3}"/>
          </ac:grpSpMkLst>
        </pc:grpChg>
        <pc:grpChg chg="add mod">
          <ac:chgData name="Ana Blasi Sanchiz" userId="ade4f707-3308-4888-b575-5e32ac6efcc8" providerId="ADAL" clId="{D38BBDC4-9196-4534-BB5D-436C5F6D8958}" dt="2024-01-25T17:29:38.678" v="285" actId="164"/>
          <ac:grpSpMkLst>
            <pc:docMk/>
            <pc:sldMk cId="2651553703" sldId="2147480879"/>
            <ac:grpSpMk id="25" creationId="{AE587E4C-04FE-77A0-7019-2E71A93855C0}"/>
          </ac:grpSpMkLst>
        </pc:grpChg>
        <pc:picChg chg="add del mod">
          <ac:chgData name="Ana Blasi Sanchiz" userId="ade4f707-3308-4888-b575-5e32ac6efcc8" providerId="ADAL" clId="{D38BBDC4-9196-4534-BB5D-436C5F6D8958}" dt="2024-01-25T17:22:52.144" v="135" actId="478"/>
          <ac:picMkLst>
            <pc:docMk/>
            <pc:sldMk cId="2651553703" sldId="2147480879"/>
            <ac:picMk id="8" creationId="{0D44FF46-EF9D-02A7-871D-23B39CD8EE28}"/>
          </ac:picMkLst>
        </pc:picChg>
        <pc:cxnChg chg="mod">
          <ac:chgData name="Ana Blasi Sanchiz" userId="ade4f707-3308-4888-b575-5e32ac6efcc8" providerId="ADAL" clId="{D38BBDC4-9196-4534-BB5D-436C5F6D8958}" dt="2024-01-25T17:25:16.724" v="190"/>
          <ac:cxnSpMkLst>
            <pc:docMk/>
            <pc:sldMk cId="2651553703" sldId="2147480879"/>
            <ac:cxnSpMk id="20" creationId="{8AE3D851-032E-9535-4F2F-62527C89E860}"/>
          </ac:cxnSpMkLst>
        </pc:cxnChg>
        <pc:cxnChg chg="mod">
          <ac:chgData name="Ana Blasi Sanchiz" userId="ade4f707-3308-4888-b575-5e32ac6efcc8" providerId="ADAL" clId="{D38BBDC4-9196-4534-BB5D-436C5F6D8958}" dt="2024-01-25T17:25:16.724" v="190"/>
          <ac:cxnSpMkLst>
            <pc:docMk/>
            <pc:sldMk cId="2651553703" sldId="2147480879"/>
            <ac:cxnSpMk id="21" creationId="{522B12CA-63C5-8A60-E75E-F1E940D92489}"/>
          </ac:cxnSpMkLst>
        </pc:cxnChg>
      </pc:sldChg>
      <pc:sldChg chg="addSp delSp modSp add mod modNotesTx">
        <pc:chgData name="Ana Blasi Sanchiz" userId="ade4f707-3308-4888-b575-5e32ac6efcc8" providerId="ADAL" clId="{D38BBDC4-9196-4534-BB5D-436C5F6D8958}" dt="2024-01-31T09:09:02.727" v="553" actId="20577"/>
        <pc:sldMkLst>
          <pc:docMk/>
          <pc:sldMk cId="2152681647" sldId="2147480880"/>
        </pc:sldMkLst>
        <pc:spChg chg="mod">
          <ac:chgData name="Ana Blasi Sanchiz" userId="ade4f707-3308-4888-b575-5e32ac6efcc8" providerId="ADAL" clId="{D38BBDC4-9196-4534-BB5D-436C5F6D8958}" dt="2024-01-25T18:33:29.041" v="359" actId="20577"/>
          <ac:spMkLst>
            <pc:docMk/>
            <pc:sldMk cId="2152681647" sldId="2147480880"/>
            <ac:spMk id="2" creationId="{0D756DDF-7BEB-983D-429B-771B23CFA6E2}"/>
          </ac:spMkLst>
        </pc:spChg>
        <pc:spChg chg="add mod">
          <ac:chgData name="Ana Blasi Sanchiz" userId="ade4f707-3308-4888-b575-5e32ac6efcc8" providerId="ADAL" clId="{D38BBDC4-9196-4534-BB5D-436C5F6D8958}" dt="2024-01-25T17:25:21.113" v="192" actId="571"/>
          <ac:spMkLst>
            <pc:docMk/>
            <pc:sldMk cId="2152681647" sldId="2147480880"/>
            <ac:spMk id="5" creationId="{8F10F8A5-5195-8701-717D-5DFFA238F3FC}"/>
          </ac:spMkLst>
        </pc:spChg>
        <pc:spChg chg="add mod ord">
          <ac:chgData name="Ana Blasi Sanchiz" userId="ade4f707-3308-4888-b575-5e32ac6efcc8" providerId="ADAL" clId="{D38BBDC4-9196-4534-BB5D-436C5F6D8958}" dt="2024-01-31T09:04:56.044" v="409" actId="14100"/>
          <ac:spMkLst>
            <pc:docMk/>
            <pc:sldMk cId="2152681647" sldId="2147480880"/>
            <ac:spMk id="5" creationId="{F3B73362-B404-CD15-9415-8C3E0A4BF48A}"/>
          </ac:spMkLst>
        </pc:spChg>
        <pc:spChg chg="mod">
          <ac:chgData name="Ana Blasi Sanchiz" userId="ade4f707-3308-4888-b575-5e32ac6efcc8" providerId="ADAL" clId="{D38BBDC4-9196-4534-BB5D-436C5F6D8958}" dt="2024-01-31T09:04:41.056" v="406" actId="14100"/>
          <ac:spMkLst>
            <pc:docMk/>
            <pc:sldMk cId="2152681647" sldId="2147480880"/>
            <ac:spMk id="7" creationId="{040C8692-A1BD-2DC8-1461-71DC1FC0D399}"/>
          </ac:spMkLst>
        </pc:spChg>
        <pc:spChg chg="mod topLvl">
          <ac:chgData name="Ana Blasi Sanchiz" userId="ade4f707-3308-4888-b575-5e32ac6efcc8" providerId="ADAL" clId="{D38BBDC4-9196-4534-BB5D-436C5F6D8958}" dt="2024-01-31T09:04:58.157" v="410" actId="14100"/>
          <ac:spMkLst>
            <pc:docMk/>
            <pc:sldMk cId="2152681647" sldId="2147480880"/>
            <ac:spMk id="9" creationId="{5BC55352-64C4-3ADB-51F0-DC7D96D02F10}"/>
          </ac:spMkLst>
        </pc:spChg>
        <pc:spChg chg="del mod">
          <ac:chgData name="Ana Blasi Sanchiz" userId="ade4f707-3308-4888-b575-5e32ac6efcc8" providerId="ADAL" clId="{D38BBDC4-9196-4534-BB5D-436C5F6D8958}" dt="2024-01-25T18:30:35.148" v="345" actId="478"/>
          <ac:spMkLst>
            <pc:docMk/>
            <pc:sldMk cId="2152681647" sldId="2147480880"/>
            <ac:spMk id="10" creationId="{7060F283-1868-A8B0-E5EC-6E3771FB070D}"/>
          </ac:spMkLst>
        </pc:spChg>
        <pc:spChg chg="del mod">
          <ac:chgData name="Ana Blasi Sanchiz" userId="ade4f707-3308-4888-b575-5e32ac6efcc8" providerId="ADAL" clId="{D38BBDC4-9196-4534-BB5D-436C5F6D8958}" dt="2024-01-25T18:30:38.165" v="346" actId="478"/>
          <ac:spMkLst>
            <pc:docMk/>
            <pc:sldMk cId="2152681647" sldId="2147480880"/>
            <ac:spMk id="11" creationId="{C45A7D03-5554-B227-E96D-14E18BBACE59}"/>
          </ac:spMkLst>
        </pc:spChg>
        <pc:spChg chg="mod topLvl">
          <ac:chgData name="Ana Blasi Sanchiz" userId="ade4f707-3308-4888-b575-5e32ac6efcc8" providerId="ADAL" clId="{D38BBDC4-9196-4534-BB5D-436C5F6D8958}" dt="2024-01-25T18:31:43.938" v="353" actId="164"/>
          <ac:spMkLst>
            <pc:docMk/>
            <pc:sldMk cId="2152681647" sldId="2147480880"/>
            <ac:spMk id="12" creationId="{2C9E6CA0-4D9F-C1A6-37F0-E0800459166E}"/>
          </ac:spMkLst>
        </pc:spChg>
        <pc:grpChg chg="add del mod">
          <ac:chgData name="Ana Blasi Sanchiz" userId="ade4f707-3308-4888-b575-5e32ac6efcc8" providerId="ADAL" clId="{D38BBDC4-9196-4534-BB5D-436C5F6D8958}" dt="2024-01-25T18:31:32.897" v="352" actId="165"/>
          <ac:grpSpMkLst>
            <pc:docMk/>
            <pc:sldMk cId="2152681647" sldId="2147480880"/>
            <ac:grpSpMk id="6" creationId="{01527C56-F042-FD59-9C83-DEEAC52B0A16}"/>
          </ac:grpSpMkLst>
        </pc:grpChg>
        <pc:grpChg chg="add mod">
          <ac:chgData name="Ana Blasi Sanchiz" userId="ade4f707-3308-4888-b575-5e32ac6efcc8" providerId="ADAL" clId="{D38BBDC4-9196-4534-BB5D-436C5F6D8958}" dt="2024-01-31T09:04:50.689" v="408" actId="14100"/>
          <ac:grpSpMkLst>
            <pc:docMk/>
            <pc:sldMk cId="2152681647" sldId="2147480880"/>
            <ac:grpSpMk id="8" creationId="{C9288FDD-3C10-A28D-8123-3F533E88F4AE}"/>
          </ac:grpSpMkLst>
        </pc:grpChg>
      </pc:sldChg>
      <pc:sldChg chg="addSp delSp modSp add mod modNotesTx">
        <pc:chgData name="Ana Blasi Sanchiz" userId="ade4f707-3308-4888-b575-5e32ac6efcc8" providerId="ADAL" clId="{D38BBDC4-9196-4534-BB5D-436C5F6D8958}" dt="2024-02-05T16:43:07.945" v="736" actId="1076"/>
        <pc:sldMkLst>
          <pc:docMk/>
          <pc:sldMk cId="3823024334" sldId="2147480881"/>
        </pc:sldMkLst>
        <pc:spChg chg="mod">
          <ac:chgData name="Ana Blasi Sanchiz" userId="ade4f707-3308-4888-b575-5e32ac6efcc8" providerId="ADAL" clId="{D38BBDC4-9196-4534-BB5D-436C5F6D8958}" dt="2024-01-31T09:08:12.945" v="543" actId="20577"/>
          <ac:spMkLst>
            <pc:docMk/>
            <pc:sldMk cId="3823024334" sldId="2147480881"/>
            <ac:spMk id="2" creationId="{0D756DDF-7BEB-983D-429B-771B23CFA6E2}"/>
          </ac:spMkLst>
        </pc:spChg>
        <pc:spChg chg="mod">
          <ac:chgData name="Ana Blasi Sanchiz" userId="ade4f707-3308-4888-b575-5e32ac6efcc8" providerId="ADAL" clId="{D38BBDC4-9196-4534-BB5D-436C5F6D8958}" dt="2024-01-31T09:05:21.531" v="418" actId="14100"/>
          <ac:spMkLst>
            <pc:docMk/>
            <pc:sldMk cId="3823024334" sldId="2147480881"/>
            <ac:spMk id="7" creationId="{040C8692-A1BD-2DC8-1461-71DC1FC0D399}"/>
          </ac:spMkLst>
        </pc:spChg>
        <pc:spChg chg="add del">
          <ac:chgData name="Ana Blasi Sanchiz" userId="ade4f707-3308-4888-b575-5e32ac6efcc8" providerId="ADAL" clId="{D38BBDC4-9196-4534-BB5D-436C5F6D8958}" dt="2024-01-31T09:08:51.141" v="549" actId="22"/>
          <ac:spMkLst>
            <pc:docMk/>
            <pc:sldMk cId="3823024334" sldId="2147480881"/>
            <ac:spMk id="8" creationId="{F1E0FDA7-88CD-9DA3-95BF-4A0308D18B7F}"/>
          </ac:spMkLst>
        </pc:spChg>
        <pc:spChg chg="mod topLvl">
          <ac:chgData name="Ana Blasi Sanchiz" userId="ade4f707-3308-4888-b575-5e32ac6efcc8" providerId="ADAL" clId="{D38BBDC4-9196-4534-BB5D-436C5F6D8958}" dt="2024-01-25T18:32:25.840" v="355" actId="164"/>
          <ac:spMkLst>
            <pc:docMk/>
            <pc:sldMk cId="3823024334" sldId="2147480881"/>
            <ac:spMk id="13" creationId="{258ADD24-A13C-5F91-E1D9-72BF8986F35D}"/>
          </ac:spMkLst>
        </pc:spChg>
        <pc:spChg chg="mod topLvl">
          <ac:chgData name="Ana Blasi Sanchiz" userId="ade4f707-3308-4888-b575-5e32ac6efcc8" providerId="ADAL" clId="{D38BBDC4-9196-4534-BB5D-436C5F6D8958}" dt="2024-01-26T10:23:42.432" v="389" actId="20577"/>
          <ac:spMkLst>
            <pc:docMk/>
            <pc:sldMk cId="3823024334" sldId="2147480881"/>
            <ac:spMk id="15" creationId="{56986B92-1049-BC23-0D32-0034F0A67B90}"/>
          </ac:spMkLst>
        </pc:spChg>
        <pc:spChg chg="mod">
          <ac:chgData name="Ana Blasi Sanchiz" userId="ade4f707-3308-4888-b575-5e32ac6efcc8" providerId="ADAL" clId="{D38BBDC4-9196-4534-BB5D-436C5F6D8958}" dt="2024-01-25T18:31:53.324" v="354" actId="165"/>
          <ac:spMkLst>
            <pc:docMk/>
            <pc:sldMk cId="3823024334" sldId="2147480881"/>
            <ac:spMk id="18" creationId="{F2452D3C-8DB3-D631-1AD1-5570AFA69A65}"/>
          </ac:spMkLst>
        </pc:spChg>
        <pc:spChg chg="mod topLvl">
          <ac:chgData name="Ana Blasi Sanchiz" userId="ade4f707-3308-4888-b575-5e32ac6efcc8" providerId="ADAL" clId="{D38BBDC4-9196-4534-BB5D-436C5F6D8958}" dt="2024-01-25T18:32:25.840" v="355" actId="164"/>
          <ac:spMkLst>
            <pc:docMk/>
            <pc:sldMk cId="3823024334" sldId="2147480881"/>
            <ac:spMk id="24" creationId="{8EF5A917-645A-D8C0-9DC1-F6AA5D5A8F45}"/>
          </ac:spMkLst>
        </pc:spChg>
        <pc:grpChg chg="add mod">
          <ac:chgData name="Ana Blasi Sanchiz" userId="ade4f707-3308-4888-b575-5e32ac6efcc8" providerId="ADAL" clId="{D38BBDC4-9196-4534-BB5D-436C5F6D8958}" dt="2024-02-05T16:43:07.945" v="736" actId="1076"/>
          <ac:grpSpMkLst>
            <pc:docMk/>
            <pc:sldMk cId="3823024334" sldId="2147480881"/>
            <ac:grpSpMk id="5" creationId="{07AFDAD9-FBF2-A9F0-F708-F16204B16BA0}"/>
          </ac:grpSpMkLst>
        </pc:grpChg>
        <pc:grpChg chg="mod topLvl">
          <ac:chgData name="Ana Blasi Sanchiz" userId="ade4f707-3308-4888-b575-5e32ac6efcc8" providerId="ADAL" clId="{D38BBDC4-9196-4534-BB5D-436C5F6D8958}" dt="2024-01-25T18:32:25.840" v="355" actId="164"/>
          <ac:grpSpMkLst>
            <pc:docMk/>
            <pc:sldMk cId="3823024334" sldId="2147480881"/>
            <ac:grpSpMk id="17" creationId="{EDFF89CC-0483-6BD4-E803-E440DD66AD2D}"/>
          </ac:grpSpMkLst>
        </pc:grpChg>
        <pc:grpChg chg="mod">
          <ac:chgData name="Ana Blasi Sanchiz" userId="ade4f707-3308-4888-b575-5e32ac6efcc8" providerId="ADAL" clId="{D38BBDC4-9196-4534-BB5D-436C5F6D8958}" dt="2024-01-25T18:31:53.324" v="354" actId="165"/>
          <ac:grpSpMkLst>
            <pc:docMk/>
            <pc:sldMk cId="3823024334" sldId="2147480881"/>
            <ac:grpSpMk id="19" creationId="{23E73B0F-C0C0-036E-D95B-4660450F4DD3}"/>
          </ac:grpSpMkLst>
        </pc:grpChg>
        <pc:grpChg chg="del">
          <ac:chgData name="Ana Blasi Sanchiz" userId="ade4f707-3308-4888-b575-5e32ac6efcc8" providerId="ADAL" clId="{D38BBDC4-9196-4534-BB5D-436C5F6D8958}" dt="2024-01-25T18:31:53.324" v="354" actId="165"/>
          <ac:grpSpMkLst>
            <pc:docMk/>
            <pc:sldMk cId="3823024334" sldId="2147480881"/>
            <ac:grpSpMk id="25" creationId="{AE587E4C-04FE-77A0-7019-2E71A93855C0}"/>
          </ac:grpSpMkLst>
        </pc:grpChg>
        <pc:cxnChg chg="mod">
          <ac:chgData name="Ana Blasi Sanchiz" userId="ade4f707-3308-4888-b575-5e32ac6efcc8" providerId="ADAL" clId="{D38BBDC4-9196-4534-BB5D-436C5F6D8958}" dt="2024-01-25T18:31:53.324" v="354" actId="165"/>
          <ac:cxnSpMkLst>
            <pc:docMk/>
            <pc:sldMk cId="3823024334" sldId="2147480881"/>
            <ac:cxnSpMk id="20" creationId="{8AE3D851-032E-9535-4F2F-62527C89E860}"/>
          </ac:cxnSpMkLst>
        </pc:cxnChg>
        <pc:cxnChg chg="mod">
          <ac:chgData name="Ana Blasi Sanchiz" userId="ade4f707-3308-4888-b575-5e32ac6efcc8" providerId="ADAL" clId="{D38BBDC4-9196-4534-BB5D-436C5F6D8958}" dt="2024-01-25T18:31:53.324" v="354" actId="165"/>
          <ac:cxnSpMkLst>
            <pc:docMk/>
            <pc:sldMk cId="3823024334" sldId="2147480881"/>
            <ac:cxnSpMk id="21" creationId="{522B12CA-63C5-8A60-E75E-F1E940D92489}"/>
          </ac:cxnSpMkLst>
        </pc:cxnChg>
      </pc:sldChg>
      <pc:sldChg chg="addSp delSp modSp add mod modNotesTx">
        <pc:chgData name="Ana Blasi Sanchiz" userId="ade4f707-3308-4888-b575-5e32ac6efcc8" providerId="ADAL" clId="{D38BBDC4-9196-4534-BB5D-436C5F6D8958}" dt="2024-01-31T09:08:54.608" v="551"/>
        <pc:sldMkLst>
          <pc:docMk/>
          <pc:sldMk cId="2024909452" sldId="2147480882"/>
        </pc:sldMkLst>
        <pc:spChg chg="mod">
          <ac:chgData name="Ana Blasi Sanchiz" userId="ade4f707-3308-4888-b575-5e32ac6efcc8" providerId="ADAL" clId="{D38BBDC4-9196-4534-BB5D-436C5F6D8958}" dt="2024-01-31T09:08:07.199" v="532" actId="20577"/>
          <ac:spMkLst>
            <pc:docMk/>
            <pc:sldMk cId="2024909452" sldId="2147480882"/>
            <ac:spMk id="2" creationId="{0D756DDF-7BEB-983D-429B-771B23CFA6E2}"/>
          </ac:spMkLst>
        </pc:spChg>
        <pc:spChg chg="add mod">
          <ac:chgData name="Ana Blasi Sanchiz" userId="ade4f707-3308-4888-b575-5e32ac6efcc8" providerId="ADAL" clId="{D38BBDC4-9196-4534-BB5D-436C5F6D8958}" dt="2024-01-31T09:06:54.571" v="421" actId="571"/>
          <ac:spMkLst>
            <pc:docMk/>
            <pc:sldMk cId="2024909452" sldId="2147480882"/>
            <ac:spMk id="6" creationId="{01B30179-843F-221C-4A6D-9DA1CD9B7AE8}"/>
          </ac:spMkLst>
        </pc:spChg>
        <pc:spChg chg="add mod">
          <ac:chgData name="Ana Blasi Sanchiz" userId="ade4f707-3308-4888-b575-5e32ac6efcc8" providerId="ADAL" clId="{D38BBDC4-9196-4534-BB5D-436C5F6D8958}" dt="2024-01-31T09:08:29.813" v="547" actId="14100"/>
          <ac:spMkLst>
            <pc:docMk/>
            <pc:sldMk cId="2024909452" sldId="2147480882"/>
            <ac:spMk id="8" creationId="{D24BF443-98FC-654F-16A3-5B4F9138D560}"/>
          </ac:spMkLst>
        </pc:spChg>
        <pc:spChg chg="add mod">
          <ac:chgData name="Ana Blasi Sanchiz" userId="ade4f707-3308-4888-b575-5e32ac6efcc8" providerId="ADAL" clId="{D38BBDC4-9196-4534-BB5D-436C5F6D8958}" dt="2024-01-31T09:07:59.304" v="519" actId="20577"/>
          <ac:spMkLst>
            <pc:docMk/>
            <pc:sldMk cId="2024909452" sldId="2147480882"/>
            <ac:spMk id="9" creationId="{1CBA1AA3-302A-D7C5-D109-70751AF98A63}"/>
          </ac:spMkLst>
        </pc:spChg>
        <pc:spChg chg="add mod">
          <ac:chgData name="Ana Blasi Sanchiz" userId="ade4f707-3308-4888-b575-5e32ac6efcc8" providerId="ADAL" clId="{D38BBDC4-9196-4534-BB5D-436C5F6D8958}" dt="2024-01-31T09:07:21.988" v="485" actId="20577"/>
          <ac:spMkLst>
            <pc:docMk/>
            <pc:sldMk cId="2024909452" sldId="2147480882"/>
            <ac:spMk id="10" creationId="{C99C92A3-959F-A767-4126-ACA4E16E34AE}"/>
          </ac:spMkLst>
        </pc:spChg>
        <pc:grpChg chg="del">
          <ac:chgData name="Ana Blasi Sanchiz" userId="ade4f707-3308-4888-b575-5e32ac6efcc8" providerId="ADAL" clId="{D38BBDC4-9196-4534-BB5D-436C5F6D8958}" dt="2024-01-31T09:06:57.487" v="422" actId="478"/>
          <ac:grpSpMkLst>
            <pc:docMk/>
            <pc:sldMk cId="2024909452" sldId="2147480882"/>
            <ac:grpSpMk id="5" creationId="{07AFDAD9-FBF2-A9F0-F708-F16204B16BA0}"/>
          </ac:grpSpMkLst>
        </pc:grpChg>
        <pc:grpChg chg="add mod">
          <ac:chgData name="Ana Blasi Sanchiz" userId="ade4f707-3308-4888-b575-5e32ac6efcc8" providerId="ADAL" clId="{D38BBDC4-9196-4534-BB5D-436C5F6D8958}" dt="2024-01-31T09:08:23.088" v="546" actId="14100"/>
          <ac:grpSpMkLst>
            <pc:docMk/>
            <pc:sldMk cId="2024909452" sldId="2147480882"/>
            <ac:grpSpMk id="11" creationId="{480EDB3C-551C-5B43-2E70-BA4201D219AC}"/>
          </ac:grpSpMkLst>
        </pc:grpChg>
      </pc:sldChg>
      <pc:sldChg chg="addSp delSp modSp add mod modNotesTx">
        <pc:chgData name="Ana Blasi Sanchiz" userId="ade4f707-3308-4888-b575-5e32ac6efcc8" providerId="ADAL" clId="{D38BBDC4-9196-4534-BB5D-436C5F6D8958}" dt="2024-02-26T19:36:19.411" v="793" actId="20577"/>
        <pc:sldMkLst>
          <pc:docMk/>
          <pc:sldMk cId="4153059995" sldId="2147480883"/>
        </pc:sldMkLst>
        <pc:spChg chg="add mod">
          <ac:chgData name="Ana Blasi Sanchiz" userId="ade4f707-3308-4888-b575-5e32ac6efcc8" providerId="ADAL" clId="{D38BBDC4-9196-4534-BB5D-436C5F6D8958}" dt="2024-01-31T09:12:52.539" v="608" actId="164"/>
          <ac:spMkLst>
            <pc:docMk/>
            <pc:sldMk cId="4153059995" sldId="2147480883"/>
            <ac:spMk id="5" creationId="{EF0BBED7-72C8-B964-4937-C8977065D509}"/>
          </ac:spMkLst>
        </pc:spChg>
        <pc:spChg chg="add mod">
          <ac:chgData name="Ana Blasi Sanchiz" userId="ade4f707-3308-4888-b575-5e32ac6efcc8" providerId="ADAL" clId="{D38BBDC4-9196-4534-BB5D-436C5F6D8958}" dt="2024-01-31T09:12:52.539" v="608" actId="164"/>
          <ac:spMkLst>
            <pc:docMk/>
            <pc:sldMk cId="4153059995" sldId="2147480883"/>
            <ac:spMk id="6" creationId="{6FE58CE7-0CFA-8AE3-D080-0822C26BFAB4}"/>
          </ac:spMkLst>
        </pc:spChg>
        <pc:grpChg chg="del">
          <ac:chgData name="Ana Blasi Sanchiz" userId="ade4f707-3308-4888-b575-5e32ac6efcc8" providerId="ADAL" clId="{D38BBDC4-9196-4534-BB5D-436C5F6D8958}" dt="2024-01-31T09:10:01.807" v="557" actId="478"/>
          <ac:grpSpMkLst>
            <pc:docMk/>
            <pc:sldMk cId="4153059995" sldId="2147480883"/>
            <ac:grpSpMk id="11" creationId="{480EDB3C-551C-5B43-2E70-BA4201D219AC}"/>
          </ac:grpSpMkLst>
        </pc:grpChg>
        <pc:grpChg chg="add mod">
          <ac:chgData name="Ana Blasi Sanchiz" userId="ade4f707-3308-4888-b575-5e32ac6efcc8" providerId="ADAL" clId="{D38BBDC4-9196-4534-BB5D-436C5F6D8958}" dt="2024-01-31T09:12:52.539" v="608" actId="164"/>
          <ac:grpSpMkLst>
            <pc:docMk/>
            <pc:sldMk cId="4153059995" sldId="2147480883"/>
            <ac:grpSpMk id="12" creationId="{AD4E83E8-D240-D6B0-E579-5844D4C406AC}"/>
          </ac:grpSpMkLst>
        </pc:grpChg>
      </pc:sldChg>
      <pc:sldChg chg="addSp delSp modSp add mod modNotesTx">
        <pc:chgData name="Ana Blasi Sanchiz" userId="ade4f707-3308-4888-b575-5e32ac6efcc8" providerId="ADAL" clId="{D38BBDC4-9196-4534-BB5D-436C5F6D8958}" dt="2024-02-26T19:36:09.125" v="787" actId="20577"/>
        <pc:sldMkLst>
          <pc:docMk/>
          <pc:sldMk cId="1339926436" sldId="2147480884"/>
        </pc:sldMkLst>
        <pc:spChg chg="del">
          <ac:chgData name="Ana Blasi Sanchiz" userId="ade4f707-3308-4888-b575-5e32ac6efcc8" providerId="ADAL" clId="{D38BBDC4-9196-4534-BB5D-436C5F6D8958}" dt="2024-01-31T09:13:00.810" v="609" actId="478"/>
          <ac:spMkLst>
            <pc:docMk/>
            <pc:sldMk cId="1339926436" sldId="2147480884"/>
            <ac:spMk id="5" creationId="{EF0BBED7-72C8-B964-4937-C8977065D509}"/>
          </ac:spMkLst>
        </pc:spChg>
        <pc:spChg chg="del">
          <ac:chgData name="Ana Blasi Sanchiz" userId="ade4f707-3308-4888-b575-5e32ac6efcc8" providerId="ADAL" clId="{D38BBDC4-9196-4534-BB5D-436C5F6D8958}" dt="2024-01-31T09:13:00.810" v="609" actId="478"/>
          <ac:spMkLst>
            <pc:docMk/>
            <pc:sldMk cId="1339926436" sldId="2147480884"/>
            <ac:spMk id="6" creationId="{6FE58CE7-0CFA-8AE3-D080-0822C26BFAB4}"/>
          </ac:spMkLst>
        </pc:spChg>
        <pc:spChg chg="mod">
          <ac:chgData name="Ana Blasi Sanchiz" userId="ade4f707-3308-4888-b575-5e32ac6efcc8" providerId="ADAL" clId="{D38BBDC4-9196-4534-BB5D-436C5F6D8958}" dt="2024-02-05T16:43:57.216" v="742"/>
          <ac:spMkLst>
            <pc:docMk/>
            <pc:sldMk cId="1339926436" sldId="2147480884"/>
            <ac:spMk id="6" creationId="{F34B0931-86E8-D2E6-0BF4-B6264B2BA14F}"/>
          </ac:spMkLst>
        </pc:spChg>
        <pc:spChg chg="del mod">
          <ac:chgData name="Ana Blasi Sanchiz" userId="ade4f707-3308-4888-b575-5e32ac6efcc8" providerId="ADAL" clId="{D38BBDC4-9196-4534-BB5D-436C5F6D8958}" dt="2024-01-31T09:20:36.545" v="698" actId="478"/>
          <ac:spMkLst>
            <pc:docMk/>
            <pc:sldMk cId="1339926436" sldId="2147480884"/>
            <ac:spMk id="7" creationId="{040C8692-A1BD-2DC8-1461-71DC1FC0D399}"/>
          </ac:spMkLst>
        </pc:spChg>
        <pc:spChg chg="mod">
          <ac:chgData name="Ana Blasi Sanchiz" userId="ade4f707-3308-4888-b575-5e32ac6efcc8" providerId="ADAL" clId="{D38BBDC4-9196-4534-BB5D-436C5F6D8958}" dt="2024-02-05T16:43:57.216" v="742"/>
          <ac:spMkLst>
            <pc:docMk/>
            <pc:sldMk cId="1339926436" sldId="2147480884"/>
            <ac:spMk id="7" creationId="{ED83C5D4-0DF8-6F10-44B3-8B36F40AA926}"/>
          </ac:spMkLst>
        </pc:spChg>
        <pc:spChg chg="add mod">
          <ac:chgData name="Ana Blasi Sanchiz" userId="ade4f707-3308-4888-b575-5e32ac6efcc8" providerId="ADAL" clId="{D38BBDC4-9196-4534-BB5D-436C5F6D8958}" dt="2024-01-31T09:14:39.468" v="681" actId="164"/>
          <ac:spMkLst>
            <pc:docMk/>
            <pc:sldMk cId="1339926436" sldId="2147480884"/>
            <ac:spMk id="8" creationId="{AE2DA3B7-6A21-0AF3-89D2-33CC1CABA51A}"/>
          </ac:spMkLst>
        </pc:spChg>
        <pc:spChg chg="add mod">
          <ac:chgData name="Ana Blasi Sanchiz" userId="ade4f707-3308-4888-b575-5e32ac6efcc8" providerId="ADAL" clId="{D38BBDC4-9196-4534-BB5D-436C5F6D8958}" dt="2024-01-31T09:14:39.468" v="681" actId="164"/>
          <ac:spMkLst>
            <pc:docMk/>
            <pc:sldMk cId="1339926436" sldId="2147480884"/>
            <ac:spMk id="9" creationId="{6E29BC19-089E-E380-9DB9-5DA072947DB6}"/>
          </ac:spMkLst>
        </pc:spChg>
        <pc:spChg chg="add mod">
          <ac:chgData name="Ana Blasi Sanchiz" userId="ade4f707-3308-4888-b575-5e32ac6efcc8" providerId="ADAL" clId="{D38BBDC4-9196-4534-BB5D-436C5F6D8958}" dt="2024-01-31T09:14:39.468" v="681" actId="164"/>
          <ac:spMkLst>
            <pc:docMk/>
            <pc:sldMk cId="1339926436" sldId="2147480884"/>
            <ac:spMk id="10" creationId="{A406085E-BE2B-385E-E0AD-EB0544EB2005}"/>
          </ac:spMkLst>
        </pc:spChg>
        <pc:spChg chg="add del mod">
          <ac:chgData name="Ana Blasi Sanchiz" userId="ade4f707-3308-4888-b575-5e32ac6efcc8" providerId="ADAL" clId="{D38BBDC4-9196-4534-BB5D-436C5F6D8958}" dt="2024-01-31T09:13:44.843" v="622"/>
          <ac:spMkLst>
            <pc:docMk/>
            <pc:sldMk cId="1339926436" sldId="2147480884"/>
            <ac:spMk id="13" creationId="{15271EA2-2AD0-DEF0-506C-E41EF3AD1EAA}"/>
          </ac:spMkLst>
        </pc:spChg>
        <pc:spChg chg="mod">
          <ac:chgData name="Ana Blasi Sanchiz" userId="ade4f707-3308-4888-b575-5e32ac6efcc8" providerId="ADAL" clId="{D38BBDC4-9196-4534-BB5D-436C5F6D8958}" dt="2024-02-05T16:43:57.216" v="742"/>
          <ac:spMkLst>
            <pc:docMk/>
            <pc:sldMk cId="1339926436" sldId="2147480884"/>
            <ac:spMk id="13" creationId="{712C6BDC-9B14-FD7F-52A9-0C063AEB71E6}"/>
          </ac:spMkLst>
        </pc:spChg>
        <pc:spChg chg="add del mod">
          <ac:chgData name="Ana Blasi Sanchiz" userId="ade4f707-3308-4888-b575-5e32ac6efcc8" providerId="ADAL" clId="{D38BBDC4-9196-4534-BB5D-436C5F6D8958}" dt="2024-01-31T09:13:44.843" v="622"/>
          <ac:spMkLst>
            <pc:docMk/>
            <pc:sldMk cId="1339926436" sldId="2147480884"/>
            <ac:spMk id="14" creationId="{6C9B7FBF-E093-D8E0-3077-D62CC29ABB7B}"/>
          </ac:spMkLst>
        </pc:spChg>
        <pc:spChg chg="add del mod">
          <ac:chgData name="Ana Blasi Sanchiz" userId="ade4f707-3308-4888-b575-5e32ac6efcc8" providerId="ADAL" clId="{D38BBDC4-9196-4534-BB5D-436C5F6D8958}" dt="2024-01-31T09:13:44.843" v="622"/>
          <ac:spMkLst>
            <pc:docMk/>
            <pc:sldMk cId="1339926436" sldId="2147480884"/>
            <ac:spMk id="15" creationId="{99A64C94-D19F-6B83-9DBD-F3ABD85FA814}"/>
          </ac:spMkLst>
        </pc:spChg>
        <pc:spChg chg="mod">
          <ac:chgData name="Ana Blasi Sanchiz" userId="ade4f707-3308-4888-b575-5e32ac6efcc8" providerId="ADAL" clId="{D38BBDC4-9196-4534-BB5D-436C5F6D8958}" dt="2024-02-05T16:44:00.893" v="744"/>
          <ac:spMkLst>
            <pc:docMk/>
            <pc:sldMk cId="1339926436" sldId="2147480884"/>
            <ac:spMk id="17" creationId="{D983FD7E-7AFD-7A41-8D3F-8DACB65796E8}"/>
          </ac:spMkLst>
        </pc:spChg>
        <pc:spChg chg="mod">
          <ac:chgData name="Ana Blasi Sanchiz" userId="ade4f707-3308-4888-b575-5e32ac6efcc8" providerId="ADAL" clId="{D38BBDC4-9196-4534-BB5D-436C5F6D8958}" dt="2024-02-05T16:44:00.893" v="744"/>
          <ac:spMkLst>
            <pc:docMk/>
            <pc:sldMk cId="1339926436" sldId="2147480884"/>
            <ac:spMk id="18" creationId="{39CBB4AE-948C-FD3B-BCD3-A4AC9FB943EA}"/>
          </ac:spMkLst>
        </pc:spChg>
        <pc:spChg chg="add del mod">
          <ac:chgData name="Ana Blasi Sanchiz" userId="ade4f707-3308-4888-b575-5e32ac6efcc8" providerId="ADAL" clId="{D38BBDC4-9196-4534-BB5D-436C5F6D8958}" dt="2024-01-31T09:13:41.761" v="620"/>
          <ac:spMkLst>
            <pc:docMk/>
            <pc:sldMk cId="1339926436" sldId="2147480884"/>
            <ac:spMk id="18" creationId="{46D15B06-A863-FA7D-0225-921EE143CE1B}"/>
          </ac:spMkLst>
        </pc:spChg>
        <pc:spChg chg="mod">
          <ac:chgData name="Ana Blasi Sanchiz" userId="ade4f707-3308-4888-b575-5e32ac6efcc8" providerId="ADAL" clId="{D38BBDC4-9196-4534-BB5D-436C5F6D8958}" dt="2024-02-05T16:44:00.893" v="744"/>
          <ac:spMkLst>
            <pc:docMk/>
            <pc:sldMk cId="1339926436" sldId="2147480884"/>
            <ac:spMk id="19" creationId="{BD27F490-06BD-E21F-5ACA-0DA7DFA3530E}"/>
          </ac:spMkLst>
        </pc:spChg>
        <pc:spChg chg="add del mod">
          <ac:chgData name="Ana Blasi Sanchiz" userId="ade4f707-3308-4888-b575-5e32ac6efcc8" providerId="ADAL" clId="{D38BBDC4-9196-4534-BB5D-436C5F6D8958}" dt="2024-01-31T09:13:41.761" v="620"/>
          <ac:spMkLst>
            <pc:docMk/>
            <pc:sldMk cId="1339926436" sldId="2147480884"/>
            <ac:spMk id="19" creationId="{E29EFAD4-2A91-6539-8500-C2746D8B0A9F}"/>
          </ac:spMkLst>
        </pc:spChg>
        <pc:spChg chg="add del mod">
          <ac:chgData name="Ana Blasi Sanchiz" userId="ade4f707-3308-4888-b575-5e32ac6efcc8" providerId="ADAL" clId="{D38BBDC4-9196-4534-BB5D-436C5F6D8958}" dt="2024-01-31T09:13:41.761" v="620"/>
          <ac:spMkLst>
            <pc:docMk/>
            <pc:sldMk cId="1339926436" sldId="2147480884"/>
            <ac:spMk id="20" creationId="{E4DE98B1-6751-D919-E825-BEA2C1D51495}"/>
          </ac:spMkLst>
        </pc:spChg>
        <pc:spChg chg="add del mod">
          <ac:chgData name="Ana Blasi Sanchiz" userId="ade4f707-3308-4888-b575-5e32ac6efcc8" providerId="ADAL" clId="{D38BBDC4-9196-4534-BB5D-436C5F6D8958}" dt="2024-01-31T09:13:40.732" v="618"/>
          <ac:spMkLst>
            <pc:docMk/>
            <pc:sldMk cId="1339926436" sldId="2147480884"/>
            <ac:spMk id="23" creationId="{6D833FA9-3AC3-F451-A40D-F11CD4680FB3}"/>
          </ac:spMkLst>
        </pc:spChg>
        <pc:spChg chg="add del mod">
          <ac:chgData name="Ana Blasi Sanchiz" userId="ade4f707-3308-4888-b575-5e32ac6efcc8" providerId="ADAL" clId="{D38BBDC4-9196-4534-BB5D-436C5F6D8958}" dt="2024-01-31T09:13:40.732" v="618"/>
          <ac:spMkLst>
            <pc:docMk/>
            <pc:sldMk cId="1339926436" sldId="2147480884"/>
            <ac:spMk id="24" creationId="{044D2CD5-E78C-CB89-6712-8C08116A6574}"/>
          </ac:spMkLst>
        </pc:spChg>
        <pc:spChg chg="add del mod">
          <ac:chgData name="Ana Blasi Sanchiz" userId="ade4f707-3308-4888-b575-5e32ac6efcc8" providerId="ADAL" clId="{D38BBDC4-9196-4534-BB5D-436C5F6D8958}" dt="2024-01-31T09:13:40.732" v="618"/>
          <ac:spMkLst>
            <pc:docMk/>
            <pc:sldMk cId="1339926436" sldId="2147480884"/>
            <ac:spMk id="25" creationId="{E3045AF7-2BF0-B53B-76ED-FA5447FBE0B4}"/>
          </ac:spMkLst>
        </pc:spChg>
        <pc:grpChg chg="add del mod">
          <ac:chgData name="Ana Blasi Sanchiz" userId="ade4f707-3308-4888-b575-5e32ac6efcc8" providerId="ADAL" clId="{D38BBDC4-9196-4534-BB5D-436C5F6D8958}" dt="2024-02-05T16:44:10.663" v="749"/>
          <ac:grpSpMkLst>
            <pc:docMk/>
            <pc:sldMk cId="1339926436" sldId="2147480884"/>
            <ac:grpSpMk id="5" creationId="{7466F615-807C-126E-29C1-46772E7569D3}"/>
          </ac:grpSpMkLst>
        </pc:grpChg>
        <pc:grpChg chg="add del mod">
          <ac:chgData name="Ana Blasi Sanchiz" userId="ade4f707-3308-4888-b575-5e32ac6efcc8" providerId="ADAL" clId="{D38BBDC4-9196-4534-BB5D-436C5F6D8958}" dt="2024-02-05T16:44:09.565" v="747"/>
          <ac:grpSpMkLst>
            <pc:docMk/>
            <pc:sldMk cId="1339926436" sldId="2147480884"/>
            <ac:grpSpMk id="16" creationId="{072CCA64-C7B8-0F33-F708-6EA00EE2A322}"/>
          </ac:grpSpMkLst>
        </pc:grpChg>
        <pc:grpChg chg="add del mod">
          <ac:chgData name="Ana Blasi Sanchiz" userId="ade4f707-3308-4888-b575-5e32ac6efcc8" providerId="ADAL" clId="{D38BBDC4-9196-4534-BB5D-436C5F6D8958}" dt="2024-02-05T16:43:56.212" v="741" actId="21"/>
          <ac:grpSpMkLst>
            <pc:docMk/>
            <pc:sldMk cId="1339926436" sldId="2147480884"/>
            <ac:grpSpMk id="28" creationId="{E22C92CF-F945-8462-0613-04381FD69141}"/>
          </ac:grpSpMkLst>
        </pc:grpChg>
        <pc:cxnChg chg="add mod">
          <ac:chgData name="Ana Blasi Sanchiz" userId="ade4f707-3308-4888-b575-5e32ac6efcc8" providerId="ADAL" clId="{D38BBDC4-9196-4534-BB5D-436C5F6D8958}" dt="2024-01-31T09:14:39.468" v="681" actId="164"/>
          <ac:cxnSpMkLst>
            <pc:docMk/>
            <pc:sldMk cId="1339926436" sldId="2147480884"/>
            <ac:cxnSpMk id="11" creationId="{6751A765-DD30-8402-451D-284011C03623}"/>
          </ac:cxnSpMkLst>
        </pc:cxnChg>
        <pc:cxnChg chg="add mod">
          <ac:chgData name="Ana Blasi Sanchiz" userId="ade4f707-3308-4888-b575-5e32ac6efcc8" providerId="ADAL" clId="{D38BBDC4-9196-4534-BB5D-436C5F6D8958}" dt="2024-01-31T09:14:39.468" v="681" actId="164"/>
          <ac:cxnSpMkLst>
            <pc:docMk/>
            <pc:sldMk cId="1339926436" sldId="2147480884"/>
            <ac:cxnSpMk id="12" creationId="{95EE516C-2105-B4CF-F0B1-32EB16B44D30}"/>
          </ac:cxnSpMkLst>
        </pc:cxnChg>
        <pc:cxnChg chg="mod">
          <ac:chgData name="Ana Blasi Sanchiz" userId="ade4f707-3308-4888-b575-5e32ac6efcc8" providerId="ADAL" clId="{D38BBDC4-9196-4534-BB5D-436C5F6D8958}" dt="2024-02-05T16:43:57.216" v="742"/>
          <ac:cxnSpMkLst>
            <pc:docMk/>
            <pc:sldMk cId="1339926436" sldId="2147480884"/>
            <ac:cxnSpMk id="14" creationId="{74EB4ABA-B758-3636-1121-17A43019A8AD}"/>
          </ac:cxnSpMkLst>
        </pc:cxnChg>
        <pc:cxnChg chg="mod">
          <ac:chgData name="Ana Blasi Sanchiz" userId="ade4f707-3308-4888-b575-5e32ac6efcc8" providerId="ADAL" clId="{D38BBDC4-9196-4534-BB5D-436C5F6D8958}" dt="2024-02-05T16:43:57.216" v="742"/>
          <ac:cxnSpMkLst>
            <pc:docMk/>
            <pc:sldMk cId="1339926436" sldId="2147480884"/>
            <ac:cxnSpMk id="15" creationId="{988C0CD6-C4A2-6D4A-C9B0-6CAEA1BF6EC4}"/>
          </ac:cxnSpMkLst>
        </pc:cxnChg>
        <pc:cxnChg chg="add del mod">
          <ac:chgData name="Ana Blasi Sanchiz" userId="ade4f707-3308-4888-b575-5e32ac6efcc8" providerId="ADAL" clId="{D38BBDC4-9196-4534-BB5D-436C5F6D8958}" dt="2024-01-31T09:13:44.843" v="622"/>
          <ac:cxnSpMkLst>
            <pc:docMk/>
            <pc:sldMk cId="1339926436" sldId="2147480884"/>
            <ac:cxnSpMk id="16" creationId="{454D2645-C2D5-F928-017F-F1FA584C76A2}"/>
          </ac:cxnSpMkLst>
        </pc:cxnChg>
        <pc:cxnChg chg="add del mod">
          <ac:chgData name="Ana Blasi Sanchiz" userId="ade4f707-3308-4888-b575-5e32ac6efcc8" providerId="ADAL" clId="{D38BBDC4-9196-4534-BB5D-436C5F6D8958}" dt="2024-01-31T09:13:44.843" v="622"/>
          <ac:cxnSpMkLst>
            <pc:docMk/>
            <pc:sldMk cId="1339926436" sldId="2147480884"/>
            <ac:cxnSpMk id="17" creationId="{6D6350BE-7588-359D-2FBA-DB0152D1ACB9}"/>
          </ac:cxnSpMkLst>
        </pc:cxnChg>
        <pc:cxnChg chg="mod">
          <ac:chgData name="Ana Blasi Sanchiz" userId="ade4f707-3308-4888-b575-5e32ac6efcc8" providerId="ADAL" clId="{D38BBDC4-9196-4534-BB5D-436C5F6D8958}" dt="2024-02-05T16:44:00.893" v="744"/>
          <ac:cxnSpMkLst>
            <pc:docMk/>
            <pc:sldMk cId="1339926436" sldId="2147480884"/>
            <ac:cxnSpMk id="20" creationId="{DD901694-009A-83E8-4385-3099CB922A22}"/>
          </ac:cxnSpMkLst>
        </pc:cxnChg>
        <pc:cxnChg chg="mod">
          <ac:chgData name="Ana Blasi Sanchiz" userId="ade4f707-3308-4888-b575-5e32ac6efcc8" providerId="ADAL" clId="{D38BBDC4-9196-4534-BB5D-436C5F6D8958}" dt="2024-02-05T16:44:00.893" v="744"/>
          <ac:cxnSpMkLst>
            <pc:docMk/>
            <pc:sldMk cId="1339926436" sldId="2147480884"/>
            <ac:cxnSpMk id="21" creationId="{12A1D714-4493-686D-4B86-47BA9535715D}"/>
          </ac:cxnSpMkLst>
        </pc:cxnChg>
        <pc:cxnChg chg="add del mod">
          <ac:chgData name="Ana Blasi Sanchiz" userId="ade4f707-3308-4888-b575-5e32ac6efcc8" providerId="ADAL" clId="{D38BBDC4-9196-4534-BB5D-436C5F6D8958}" dt="2024-01-31T09:13:41.761" v="620"/>
          <ac:cxnSpMkLst>
            <pc:docMk/>
            <pc:sldMk cId="1339926436" sldId="2147480884"/>
            <ac:cxnSpMk id="21" creationId="{D35E029C-10C3-F87C-6374-318E7806486B}"/>
          </ac:cxnSpMkLst>
        </pc:cxnChg>
        <pc:cxnChg chg="add del mod">
          <ac:chgData name="Ana Blasi Sanchiz" userId="ade4f707-3308-4888-b575-5e32ac6efcc8" providerId="ADAL" clId="{D38BBDC4-9196-4534-BB5D-436C5F6D8958}" dt="2024-01-31T09:13:41.761" v="620"/>
          <ac:cxnSpMkLst>
            <pc:docMk/>
            <pc:sldMk cId="1339926436" sldId="2147480884"/>
            <ac:cxnSpMk id="22" creationId="{6BA2204D-F418-E3BC-4BAA-4D8FE1C66E1D}"/>
          </ac:cxnSpMkLst>
        </pc:cxnChg>
        <pc:cxnChg chg="add del mod">
          <ac:chgData name="Ana Blasi Sanchiz" userId="ade4f707-3308-4888-b575-5e32ac6efcc8" providerId="ADAL" clId="{D38BBDC4-9196-4534-BB5D-436C5F6D8958}" dt="2024-01-31T09:13:40.732" v="618"/>
          <ac:cxnSpMkLst>
            <pc:docMk/>
            <pc:sldMk cId="1339926436" sldId="2147480884"/>
            <ac:cxnSpMk id="26" creationId="{B270024E-EC52-060E-3F9C-8745618B3529}"/>
          </ac:cxnSpMkLst>
        </pc:cxnChg>
        <pc:cxnChg chg="add del mod">
          <ac:chgData name="Ana Blasi Sanchiz" userId="ade4f707-3308-4888-b575-5e32ac6efcc8" providerId="ADAL" clId="{D38BBDC4-9196-4534-BB5D-436C5F6D8958}" dt="2024-01-31T09:13:40.732" v="618"/>
          <ac:cxnSpMkLst>
            <pc:docMk/>
            <pc:sldMk cId="1339926436" sldId="2147480884"/>
            <ac:cxnSpMk id="27" creationId="{60F95261-191F-E7DE-0131-EE60294671D9}"/>
          </ac:cxnSpMkLst>
        </pc:cxnChg>
      </pc:sldChg>
      <pc:sldChg chg="addSp delSp modSp add mod modNotesTx">
        <pc:chgData name="Ana Blasi Sanchiz" userId="ade4f707-3308-4888-b575-5e32ac6efcc8" providerId="ADAL" clId="{D38BBDC4-9196-4534-BB5D-436C5F6D8958}" dt="2024-01-31T09:21:20.151" v="732" actId="14100"/>
        <pc:sldMkLst>
          <pc:docMk/>
          <pc:sldMk cId="596926124" sldId="2147480885"/>
        </pc:sldMkLst>
        <pc:spChg chg="mod">
          <ac:chgData name="Ana Blasi Sanchiz" userId="ade4f707-3308-4888-b575-5e32ac6efcc8" providerId="ADAL" clId="{D38BBDC4-9196-4534-BB5D-436C5F6D8958}" dt="2024-01-31T09:20:16.173" v="684"/>
          <ac:spMkLst>
            <pc:docMk/>
            <pc:sldMk cId="596926124" sldId="2147480885"/>
            <ac:spMk id="6" creationId="{3B4D325F-23D7-4AAF-BF83-44FE8FE3D78E}"/>
          </ac:spMkLst>
        </pc:spChg>
        <pc:spChg chg="mod">
          <ac:chgData name="Ana Blasi Sanchiz" userId="ade4f707-3308-4888-b575-5e32ac6efcc8" providerId="ADAL" clId="{D38BBDC4-9196-4534-BB5D-436C5F6D8958}" dt="2024-01-31T09:21:20.151" v="732" actId="14100"/>
          <ac:spMkLst>
            <pc:docMk/>
            <pc:sldMk cId="596926124" sldId="2147480885"/>
            <ac:spMk id="7" creationId="{040C8692-A1BD-2DC8-1461-71DC1FC0D399}"/>
          </ac:spMkLst>
        </pc:spChg>
        <pc:spChg chg="mod">
          <ac:chgData name="Ana Blasi Sanchiz" userId="ade4f707-3308-4888-b575-5e32ac6efcc8" providerId="ADAL" clId="{D38BBDC4-9196-4534-BB5D-436C5F6D8958}" dt="2024-01-31T09:20:16.173" v="684"/>
          <ac:spMkLst>
            <pc:docMk/>
            <pc:sldMk cId="596926124" sldId="2147480885"/>
            <ac:spMk id="13" creationId="{83E94B11-23B7-BC3F-0F53-9686365B9B8C}"/>
          </ac:spMkLst>
        </pc:spChg>
        <pc:spChg chg="add mod">
          <ac:chgData name="Ana Blasi Sanchiz" userId="ade4f707-3308-4888-b575-5e32ac6efcc8" providerId="ADAL" clId="{D38BBDC4-9196-4534-BB5D-436C5F6D8958}" dt="2024-01-31T09:20:20.987" v="685" actId="1076"/>
          <ac:spMkLst>
            <pc:docMk/>
            <pc:sldMk cId="596926124" sldId="2147480885"/>
            <ac:spMk id="14" creationId="{A4D9650D-24EC-1E82-59CE-3B8565F08432}"/>
          </ac:spMkLst>
        </pc:spChg>
        <pc:spChg chg="add mod">
          <ac:chgData name="Ana Blasi Sanchiz" userId="ade4f707-3308-4888-b575-5e32ac6efcc8" providerId="ADAL" clId="{D38BBDC4-9196-4534-BB5D-436C5F6D8958}" dt="2024-01-31T09:21:10.841" v="731" actId="14100"/>
          <ac:spMkLst>
            <pc:docMk/>
            <pc:sldMk cId="596926124" sldId="2147480885"/>
            <ac:spMk id="15" creationId="{2E39826F-4BBC-1D34-4326-539F15F16E25}"/>
          </ac:spMkLst>
        </pc:spChg>
        <pc:grpChg chg="add mod">
          <ac:chgData name="Ana Blasi Sanchiz" userId="ade4f707-3308-4888-b575-5e32ac6efcc8" providerId="ADAL" clId="{D38BBDC4-9196-4534-BB5D-436C5F6D8958}" dt="2024-01-31T09:20:20.987" v="685" actId="1076"/>
          <ac:grpSpMkLst>
            <pc:docMk/>
            <pc:sldMk cId="596926124" sldId="2147480885"/>
            <ac:grpSpMk id="5" creationId="{510519E4-EC15-F5DA-A0CA-3A10140905AD}"/>
          </ac:grpSpMkLst>
        </pc:grpChg>
        <pc:grpChg chg="del">
          <ac:chgData name="Ana Blasi Sanchiz" userId="ade4f707-3308-4888-b575-5e32ac6efcc8" providerId="ADAL" clId="{D38BBDC4-9196-4534-BB5D-436C5F6D8958}" dt="2024-01-31T09:20:09.407" v="683" actId="478"/>
          <ac:grpSpMkLst>
            <pc:docMk/>
            <pc:sldMk cId="596926124" sldId="2147480885"/>
            <ac:grpSpMk id="28" creationId="{E22C92CF-F945-8462-0613-04381FD69141}"/>
          </ac:grpSpMkLst>
        </pc:grpChg>
      </pc:sldChg>
      <pc:sldChg chg="modNotesTx">
        <pc:chgData name="Ana Blasi Sanchiz" userId="ade4f707-3308-4888-b575-5e32ac6efcc8" providerId="ADAL" clId="{D38BBDC4-9196-4534-BB5D-436C5F6D8958}" dt="2024-02-26T19:36:13.480" v="789" actId="20577"/>
        <pc:sldMkLst>
          <pc:docMk/>
          <pc:sldMk cId="2615332919" sldId="2147480887"/>
        </pc:sldMkLst>
      </pc:sldChg>
      <pc:sldChg chg="del">
        <pc:chgData name="Ana Blasi Sanchiz" userId="ade4f707-3308-4888-b575-5e32ac6efcc8" providerId="ADAL" clId="{D38BBDC4-9196-4534-BB5D-436C5F6D8958}" dt="2024-02-27T17:53:40.247" v="805" actId="47"/>
        <pc:sldMkLst>
          <pc:docMk/>
          <pc:sldMk cId="1208733129" sldId="2147480888"/>
        </pc:sldMkLst>
      </pc:sldChg>
      <pc:sldChg chg="modSp mod chgLayout">
        <pc:chgData name="Ana Blasi Sanchiz" userId="ade4f707-3308-4888-b575-5e32ac6efcc8" providerId="ADAL" clId="{D38BBDC4-9196-4534-BB5D-436C5F6D8958}" dt="2024-02-27T17:52:57.519" v="799" actId="700"/>
        <pc:sldMkLst>
          <pc:docMk/>
          <pc:sldMk cId="3720812249" sldId="2147480889"/>
        </pc:sldMkLst>
        <pc:spChg chg="mod ord">
          <ac:chgData name="Ana Blasi Sanchiz" userId="ade4f707-3308-4888-b575-5e32ac6efcc8" providerId="ADAL" clId="{D38BBDC4-9196-4534-BB5D-436C5F6D8958}" dt="2024-02-27T17:52:57.519" v="799" actId="700"/>
          <ac:spMkLst>
            <pc:docMk/>
            <pc:sldMk cId="3720812249" sldId="2147480889"/>
            <ac:spMk id="2" creationId="{A88DD007-5113-6BA9-2014-83B0C2EA7578}"/>
          </ac:spMkLst>
        </pc:spChg>
        <pc:spChg chg="mod ord">
          <ac:chgData name="Ana Blasi Sanchiz" userId="ade4f707-3308-4888-b575-5e32ac6efcc8" providerId="ADAL" clId="{D38BBDC4-9196-4534-BB5D-436C5F6D8958}" dt="2024-02-27T17:52:57.519" v="799" actId="700"/>
          <ac:spMkLst>
            <pc:docMk/>
            <pc:sldMk cId="3720812249" sldId="2147480889"/>
            <ac:spMk id="3" creationId="{6AB244A5-562F-9064-4E50-926A21CE4F18}"/>
          </ac:spMkLst>
        </pc:spChg>
        <pc:spChg chg="mod ord">
          <ac:chgData name="Ana Blasi Sanchiz" userId="ade4f707-3308-4888-b575-5e32ac6efcc8" providerId="ADAL" clId="{D38BBDC4-9196-4534-BB5D-436C5F6D8958}" dt="2024-02-27T17:52:57.519" v="799" actId="700"/>
          <ac:spMkLst>
            <pc:docMk/>
            <pc:sldMk cId="3720812249" sldId="2147480889"/>
            <ac:spMk id="4" creationId="{F76B31A2-E7F8-36B5-4D78-358D1C189F59}"/>
          </ac:spMkLst>
        </pc:spChg>
      </pc:sldChg>
      <pc:sldChg chg="addSp delSp modSp mod">
        <pc:chgData name="Ana Blasi Sanchiz" userId="ade4f707-3308-4888-b575-5e32ac6efcc8" providerId="ADAL" clId="{D38BBDC4-9196-4534-BB5D-436C5F6D8958}" dt="2024-02-28T16:05:44.522" v="1070" actId="207"/>
        <pc:sldMkLst>
          <pc:docMk/>
          <pc:sldMk cId="3188771852" sldId="2147480890"/>
        </pc:sldMkLst>
        <pc:spChg chg="del mod">
          <ac:chgData name="Ana Blasi Sanchiz" userId="ade4f707-3308-4888-b575-5e32ac6efcc8" providerId="ADAL" clId="{D38BBDC4-9196-4534-BB5D-436C5F6D8958}" dt="2024-02-27T17:56:24.541" v="822" actId="478"/>
          <ac:spMkLst>
            <pc:docMk/>
            <pc:sldMk cId="3188771852" sldId="2147480890"/>
            <ac:spMk id="2" creationId="{17F547FC-46BC-3890-AFCB-F9756A738FE4}"/>
          </ac:spMkLst>
        </pc:spChg>
        <pc:spChg chg="mod">
          <ac:chgData name="Ana Blasi Sanchiz" userId="ade4f707-3308-4888-b575-5e32ac6efcc8" providerId="ADAL" clId="{D38BBDC4-9196-4534-BB5D-436C5F6D8958}" dt="2024-02-27T18:07:19.883" v="898"/>
          <ac:spMkLst>
            <pc:docMk/>
            <pc:sldMk cId="3188771852" sldId="2147480890"/>
            <ac:spMk id="4" creationId="{152049C1-3C41-D7F4-4117-5C9B637DA9A3}"/>
          </ac:spMkLst>
        </pc:spChg>
        <pc:spChg chg="mod">
          <ac:chgData name="Ana Blasi Sanchiz" userId="ade4f707-3308-4888-b575-5e32ac6efcc8" providerId="ADAL" clId="{D38BBDC4-9196-4534-BB5D-436C5F6D8958}" dt="2024-02-27T17:57:25.622" v="833" actId="1076"/>
          <ac:spMkLst>
            <pc:docMk/>
            <pc:sldMk cId="3188771852" sldId="2147480890"/>
            <ac:spMk id="8" creationId="{09DA7D9F-8300-3F1F-6B84-9460575ACFA4}"/>
          </ac:spMkLst>
        </pc:spChg>
        <pc:spChg chg="mod">
          <ac:chgData name="Ana Blasi Sanchiz" userId="ade4f707-3308-4888-b575-5e32ac6efcc8" providerId="ADAL" clId="{D38BBDC4-9196-4534-BB5D-436C5F6D8958}" dt="2024-02-27T17:57:25.622" v="833" actId="1076"/>
          <ac:spMkLst>
            <pc:docMk/>
            <pc:sldMk cId="3188771852" sldId="2147480890"/>
            <ac:spMk id="9" creationId="{8EB5F1DA-4840-3995-F51D-DC9F99FE8EE0}"/>
          </ac:spMkLst>
        </pc:spChg>
        <pc:spChg chg="mod">
          <ac:chgData name="Ana Blasi Sanchiz" userId="ade4f707-3308-4888-b575-5e32ac6efcc8" providerId="ADAL" clId="{D38BBDC4-9196-4534-BB5D-436C5F6D8958}" dt="2024-02-27T17:57:25.622" v="833" actId="1076"/>
          <ac:spMkLst>
            <pc:docMk/>
            <pc:sldMk cId="3188771852" sldId="2147480890"/>
            <ac:spMk id="10" creationId="{454DC50F-8830-85E5-F9E1-1D2CB0992C5A}"/>
          </ac:spMkLst>
        </pc:spChg>
        <pc:spChg chg="mod">
          <ac:chgData name="Ana Blasi Sanchiz" userId="ade4f707-3308-4888-b575-5e32ac6efcc8" providerId="ADAL" clId="{D38BBDC4-9196-4534-BB5D-436C5F6D8958}" dt="2024-02-27T17:57:25.622" v="833" actId="1076"/>
          <ac:spMkLst>
            <pc:docMk/>
            <pc:sldMk cId="3188771852" sldId="2147480890"/>
            <ac:spMk id="11" creationId="{FC9E95CF-37A2-0907-12C5-2F0BE19C984E}"/>
          </ac:spMkLst>
        </pc:spChg>
        <pc:spChg chg="mod">
          <ac:chgData name="Ana Blasi Sanchiz" userId="ade4f707-3308-4888-b575-5e32ac6efcc8" providerId="ADAL" clId="{D38BBDC4-9196-4534-BB5D-436C5F6D8958}" dt="2024-02-27T17:57:25.622" v="833" actId="1076"/>
          <ac:spMkLst>
            <pc:docMk/>
            <pc:sldMk cId="3188771852" sldId="2147480890"/>
            <ac:spMk id="12" creationId="{8A4032BA-A5B0-637E-8499-D5392C32D087}"/>
          </ac:spMkLst>
        </pc:spChg>
        <pc:spChg chg="mod">
          <ac:chgData name="Ana Blasi Sanchiz" userId="ade4f707-3308-4888-b575-5e32ac6efcc8" providerId="ADAL" clId="{D38BBDC4-9196-4534-BB5D-436C5F6D8958}" dt="2024-02-27T17:57:25.622" v="833" actId="1076"/>
          <ac:spMkLst>
            <pc:docMk/>
            <pc:sldMk cId="3188771852" sldId="2147480890"/>
            <ac:spMk id="13" creationId="{E4F5B6E6-D0B8-98B9-8E53-2EE2050C6537}"/>
          </ac:spMkLst>
        </pc:spChg>
        <pc:spChg chg="mod">
          <ac:chgData name="Ana Blasi Sanchiz" userId="ade4f707-3308-4888-b575-5e32ac6efcc8" providerId="ADAL" clId="{D38BBDC4-9196-4534-BB5D-436C5F6D8958}" dt="2024-02-27T17:57:25.622" v="833" actId="1076"/>
          <ac:spMkLst>
            <pc:docMk/>
            <pc:sldMk cId="3188771852" sldId="2147480890"/>
            <ac:spMk id="14" creationId="{E8643F34-DF4A-8191-FA95-88EDA2939551}"/>
          </ac:spMkLst>
        </pc:spChg>
        <pc:spChg chg="mod">
          <ac:chgData name="Ana Blasi Sanchiz" userId="ade4f707-3308-4888-b575-5e32ac6efcc8" providerId="ADAL" clId="{D38BBDC4-9196-4534-BB5D-436C5F6D8958}" dt="2024-02-27T17:57:25.622" v="833" actId="1076"/>
          <ac:spMkLst>
            <pc:docMk/>
            <pc:sldMk cId="3188771852" sldId="2147480890"/>
            <ac:spMk id="15" creationId="{790B0454-1F87-DB9E-D69D-AAE56FF194E8}"/>
          </ac:spMkLst>
        </pc:spChg>
        <pc:spChg chg="mod">
          <ac:chgData name="Ana Blasi Sanchiz" userId="ade4f707-3308-4888-b575-5e32ac6efcc8" providerId="ADAL" clId="{D38BBDC4-9196-4534-BB5D-436C5F6D8958}" dt="2024-02-27T17:57:25.622" v="833" actId="1076"/>
          <ac:spMkLst>
            <pc:docMk/>
            <pc:sldMk cId="3188771852" sldId="2147480890"/>
            <ac:spMk id="16" creationId="{3BE01FB2-6500-BCCB-D8EE-71C24F596696}"/>
          </ac:spMkLst>
        </pc:spChg>
        <pc:spChg chg="mod">
          <ac:chgData name="Ana Blasi Sanchiz" userId="ade4f707-3308-4888-b575-5e32ac6efcc8" providerId="ADAL" clId="{D38BBDC4-9196-4534-BB5D-436C5F6D8958}" dt="2024-02-27T17:57:25.622" v="833" actId="1076"/>
          <ac:spMkLst>
            <pc:docMk/>
            <pc:sldMk cId="3188771852" sldId="2147480890"/>
            <ac:spMk id="17" creationId="{A4AEEA95-67F7-1280-9D03-21D36DD7B819}"/>
          </ac:spMkLst>
        </pc:spChg>
        <pc:spChg chg="mod">
          <ac:chgData name="Ana Blasi Sanchiz" userId="ade4f707-3308-4888-b575-5e32ac6efcc8" providerId="ADAL" clId="{D38BBDC4-9196-4534-BB5D-436C5F6D8958}" dt="2024-02-27T17:57:25.622" v="833" actId="1076"/>
          <ac:spMkLst>
            <pc:docMk/>
            <pc:sldMk cId="3188771852" sldId="2147480890"/>
            <ac:spMk id="18" creationId="{FD4D3660-2A0C-0722-948E-B03C6807C490}"/>
          </ac:spMkLst>
        </pc:spChg>
        <pc:spChg chg="mod">
          <ac:chgData name="Ana Blasi Sanchiz" userId="ade4f707-3308-4888-b575-5e32ac6efcc8" providerId="ADAL" clId="{D38BBDC4-9196-4534-BB5D-436C5F6D8958}" dt="2024-02-27T17:57:25.622" v="833" actId="1076"/>
          <ac:spMkLst>
            <pc:docMk/>
            <pc:sldMk cId="3188771852" sldId="2147480890"/>
            <ac:spMk id="19" creationId="{527C7F46-E30C-D455-CA52-8A3B072D8F57}"/>
          </ac:spMkLst>
        </pc:spChg>
        <pc:spChg chg="mod">
          <ac:chgData name="Ana Blasi Sanchiz" userId="ade4f707-3308-4888-b575-5e32ac6efcc8" providerId="ADAL" clId="{D38BBDC4-9196-4534-BB5D-436C5F6D8958}" dt="2024-02-27T17:57:25.622" v="833" actId="1076"/>
          <ac:spMkLst>
            <pc:docMk/>
            <pc:sldMk cId="3188771852" sldId="2147480890"/>
            <ac:spMk id="20" creationId="{41040A15-FC4F-EBC4-B373-EE7F57B3213A}"/>
          </ac:spMkLst>
        </pc:spChg>
        <pc:spChg chg="mod">
          <ac:chgData name="Ana Blasi Sanchiz" userId="ade4f707-3308-4888-b575-5e32ac6efcc8" providerId="ADAL" clId="{D38BBDC4-9196-4534-BB5D-436C5F6D8958}" dt="2024-02-27T17:57:25.622" v="833" actId="1076"/>
          <ac:spMkLst>
            <pc:docMk/>
            <pc:sldMk cId="3188771852" sldId="2147480890"/>
            <ac:spMk id="21" creationId="{75A398E5-5FF4-8C9E-0626-FC18E37A6338}"/>
          </ac:spMkLst>
        </pc:spChg>
        <pc:spChg chg="mod">
          <ac:chgData name="Ana Blasi Sanchiz" userId="ade4f707-3308-4888-b575-5e32ac6efcc8" providerId="ADAL" clId="{D38BBDC4-9196-4534-BB5D-436C5F6D8958}" dt="2024-02-27T17:57:25.622" v="833" actId="1076"/>
          <ac:spMkLst>
            <pc:docMk/>
            <pc:sldMk cId="3188771852" sldId="2147480890"/>
            <ac:spMk id="22" creationId="{60820446-3EE5-7CB1-DD92-4E26B36E7658}"/>
          </ac:spMkLst>
        </pc:spChg>
        <pc:spChg chg="mod">
          <ac:chgData name="Ana Blasi Sanchiz" userId="ade4f707-3308-4888-b575-5e32ac6efcc8" providerId="ADAL" clId="{D38BBDC4-9196-4534-BB5D-436C5F6D8958}" dt="2024-02-27T17:57:25.622" v="833" actId="1076"/>
          <ac:spMkLst>
            <pc:docMk/>
            <pc:sldMk cId="3188771852" sldId="2147480890"/>
            <ac:spMk id="23" creationId="{94128E89-A759-E34D-DA7D-B09C03197F1F}"/>
          </ac:spMkLst>
        </pc:spChg>
        <pc:spChg chg="mod">
          <ac:chgData name="Ana Blasi Sanchiz" userId="ade4f707-3308-4888-b575-5e32ac6efcc8" providerId="ADAL" clId="{D38BBDC4-9196-4534-BB5D-436C5F6D8958}" dt="2024-02-27T17:57:25.622" v="833" actId="1076"/>
          <ac:spMkLst>
            <pc:docMk/>
            <pc:sldMk cId="3188771852" sldId="2147480890"/>
            <ac:spMk id="24" creationId="{143F5949-156B-9B97-F2EC-F9B44F1D8D0E}"/>
          </ac:spMkLst>
        </pc:spChg>
        <pc:spChg chg="mod">
          <ac:chgData name="Ana Blasi Sanchiz" userId="ade4f707-3308-4888-b575-5e32ac6efcc8" providerId="ADAL" clId="{D38BBDC4-9196-4534-BB5D-436C5F6D8958}" dt="2024-02-27T17:57:25.622" v="833" actId="1076"/>
          <ac:spMkLst>
            <pc:docMk/>
            <pc:sldMk cId="3188771852" sldId="2147480890"/>
            <ac:spMk id="25" creationId="{EED2F3C7-4275-F5C4-A692-53D610444DD6}"/>
          </ac:spMkLst>
        </pc:spChg>
        <pc:spChg chg="mod">
          <ac:chgData name="Ana Blasi Sanchiz" userId="ade4f707-3308-4888-b575-5e32ac6efcc8" providerId="ADAL" clId="{D38BBDC4-9196-4534-BB5D-436C5F6D8958}" dt="2024-02-27T17:57:25.622" v="833" actId="1076"/>
          <ac:spMkLst>
            <pc:docMk/>
            <pc:sldMk cId="3188771852" sldId="2147480890"/>
            <ac:spMk id="26" creationId="{551FF604-3D0A-4DBE-69E7-29004B9F66BD}"/>
          </ac:spMkLst>
        </pc:spChg>
        <pc:spChg chg="mod">
          <ac:chgData name="Ana Blasi Sanchiz" userId="ade4f707-3308-4888-b575-5e32ac6efcc8" providerId="ADAL" clId="{D38BBDC4-9196-4534-BB5D-436C5F6D8958}" dt="2024-02-27T17:57:25.622" v="833" actId="1076"/>
          <ac:spMkLst>
            <pc:docMk/>
            <pc:sldMk cId="3188771852" sldId="2147480890"/>
            <ac:spMk id="27" creationId="{8F7B69C9-082C-8B0A-040E-BBFA183D2029}"/>
          </ac:spMkLst>
        </pc:spChg>
        <pc:spChg chg="mod">
          <ac:chgData name="Ana Blasi Sanchiz" userId="ade4f707-3308-4888-b575-5e32ac6efcc8" providerId="ADAL" clId="{D38BBDC4-9196-4534-BB5D-436C5F6D8958}" dt="2024-02-27T17:57:25.622" v="833" actId="1076"/>
          <ac:spMkLst>
            <pc:docMk/>
            <pc:sldMk cId="3188771852" sldId="2147480890"/>
            <ac:spMk id="28" creationId="{812B46AC-6086-032C-F1FE-B3154AE147EC}"/>
          </ac:spMkLst>
        </pc:spChg>
        <pc:spChg chg="mod">
          <ac:chgData name="Ana Blasi Sanchiz" userId="ade4f707-3308-4888-b575-5e32ac6efcc8" providerId="ADAL" clId="{D38BBDC4-9196-4534-BB5D-436C5F6D8958}" dt="2024-02-27T17:57:25.622" v="833" actId="1076"/>
          <ac:spMkLst>
            <pc:docMk/>
            <pc:sldMk cId="3188771852" sldId="2147480890"/>
            <ac:spMk id="29" creationId="{5A415534-646E-4148-B51C-3CB9DBF28D23}"/>
          </ac:spMkLst>
        </pc:spChg>
        <pc:spChg chg="mod">
          <ac:chgData name="Ana Blasi Sanchiz" userId="ade4f707-3308-4888-b575-5e32ac6efcc8" providerId="ADAL" clId="{D38BBDC4-9196-4534-BB5D-436C5F6D8958}" dt="2024-02-27T17:57:25.622" v="833" actId="1076"/>
          <ac:spMkLst>
            <pc:docMk/>
            <pc:sldMk cId="3188771852" sldId="2147480890"/>
            <ac:spMk id="30" creationId="{90015056-9FA7-44E3-D0A0-3592EDB9F870}"/>
          </ac:spMkLst>
        </pc:spChg>
        <pc:spChg chg="mod">
          <ac:chgData name="Ana Blasi Sanchiz" userId="ade4f707-3308-4888-b575-5e32ac6efcc8" providerId="ADAL" clId="{D38BBDC4-9196-4534-BB5D-436C5F6D8958}" dt="2024-02-27T17:57:25.622" v="833" actId="1076"/>
          <ac:spMkLst>
            <pc:docMk/>
            <pc:sldMk cId="3188771852" sldId="2147480890"/>
            <ac:spMk id="31" creationId="{D7B34E0D-9089-033E-D915-63208964952F}"/>
          </ac:spMkLst>
        </pc:spChg>
        <pc:spChg chg="mod">
          <ac:chgData name="Ana Blasi Sanchiz" userId="ade4f707-3308-4888-b575-5e32ac6efcc8" providerId="ADAL" clId="{D38BBDC4-9196-4534-BB5D-436C5F6D8958}" dt="2024-02-27T17:57:25.622" v="833" actId="1076"/>
          <ac:spMkLst>
            <pc:docMk/>
            <pc:sldMk cId="3188771852" sldId="2147480890"/>
            <ac:spMk id="32" creationId="{50653109-3F02-6B0C-EC8F-908A02AAEFAD}"/>
          </ac:spMkLst>
        </pc:spChg>
        <pc:spChg chg="mod">
          <ac:chgData name="Ana Blasi Sanchiz" userId="ade4f707-3308-4888-b575-5e32ac6efcc8" providerId="ADAL" clId="{D38BBDC4-9196-4534-BB5D-436C5F6D8958}" dt="2024-02-27T17:57:25.622" v="833" actId="1076"/>
          <ac:spMkLst>
            <pc:docMk/>
            <pc:sldMk cId="3188771852" sldId="2147480890"/>
            <ac:spMk id="33" creationId="{EEB7568D-0779-E194-D7D4-0E66EDD08780}"/>
          </ac:spMkLst>
        </pc:spChg>
        <pc:spChg chg="mod">
          <ac:chgData name="Ana Blasi Sanchiz" userId="ade4f707-3308-4888-b575-5e32ac6efcc8" providerId="ADAL" clId="{D38BBDC4-9196-4534-BB5D-436C5F6D8958}" dt="2024-02-27T17:57:25.622" v="833" actId="1076"/>
          <ac:spMkLst>
            <pc:docMk/>
            <pc:sldMk cId="3188771852" sldId="2147480890"/>
            <ac:spMk id="34" creationId="{6C2B2458-757E-26DB-F74D-15477516DF5A}"/>
          </ac:spMkLst>
        </pc:spChg>
        <pc:spChg chg="mod">
          <ac:chgData name="Ana Blasi Sanchiz" userId="ade4f707-3308-4888-b575-5e32ac6efcc8" providerId="ADAL" clId="{D38BBDC4-9196-4534-BB5D-436C5F6D8958}" dt="2024-02-27T17:57:25.622" v="833" actId="1076"/>
          <ac:spMkLst>
            <pc:docMk/>
            <pc:sldMk cId="3188771852" sldId="2147480890"/>
            <ac:spMk id="35" creationId="{FC4D1D00-D7D9-6806-DCB8-FA4E23850386}"/>
          </ac:spMkLst>
        </pc:spChg>
        <pc:spChg chg="mod">
          <ac:chgData name="Ana Blasi Sanchiz" userId="ade4f707-3308-4888-b575-5e32ac6efcc8" providerId="ADAL" clId="{D38BBDC4-9196-4534-BB5D-436C5F6D8958}" dt="2024-02-27T17:57:25.622" v="833" actId="1076"/>
          <ac:spMkLst>
            <pc:docMk/>
            <pc:sldMk cId="3188771852" sldId="2147480890"/>
            <ac:spMk id="36" creationId="{37933380-31F0-5C2A-E5C0-A8A9DC13579A}"/>
          </ac:spMkLst>
        </pc:spChg>
        <pc:spChg chg="mod">
          <ac:chgData name="Ana Blasi Sanchiz" userId="ade4f707-3308-4888-b575-5e32ac6efcc8" providerId="ADAL" clId="{D38BBDC4-9196-4534-BB5D-436C5F6D8958}" dt="2024-02-27T17:57:25.622" v="833" actId="1076"/>
          <ac:spMkLst>
            <pc:docMk/>
            <pc:sldMk cId="3188771852" sldId="2147480890"/>
            <ac:spMk id="37" creationId="{4D392FF4-1C5A-E385-F917-A639A2A8B153}"/>
          </ac:spMkLst>
        </pc:spChg>
        <pc:spChg chg="mod">
          <ac:chgData name="Ana Blasi Sanchiz" userId="ade4f707-3308-4888-b575-5e32ac6efcc8" providerId="ADAL" clId="{D38BBDC4-9196-4534-BB5D-436C5F6D8958}" dt="2024-02-27T17:57:25.622" v="833" actId="1076"/>
          <ac:spMkLst>
            <pc:docMk/>
            <pc:sldMk cId="3188771852" sldId="2147480890"/>
            <ac:spMk id="38" creationId="{D2728DBF-CBD8-C97A-E672-9791FAB4CDE1}"/>
          </ac:spMkLst>
        </pc:spChg>
        <pc:spChg chg="mod">
          <ac:chgData name="Ana Blasi Sanchiz" userId="ade4f707-3308-4888-b575-5e32ac6efcc8" providerId="ADAL" clId="{D38BBDC4-9196-4534-BB5D-436C5F6D8958}" dt="2024-02-27T17:57:25.622" v="833" actId="1076"/>
          <ac:spMkLst>
            <pc:docMk/>
            <pc:sldMk cId="3188771852" sldId="2147480890"/>
            <ac:spMk id="39" creationId="{644D87FF-CB24-E400-41CB-C1A445BCF94F}"/>
          </ac:spMkLst>
        </pc:spChg>
        <pc:spChg chg="mod">
          <ac:chgData name="Ana Blasi Sanchiz" userId="ade4f707-3308-4888-b575-5e32ac6efcc8" providerId="ADAL" clId="{D38BBDC4-9196-4534-BB5D-436C5F6D8958}" dt="2024-02-27T17:57:25.622" v="833" actId="1076"/>
          <ac:spMkLst>
            <pc:docMk/>
            <pc:sldMk cId="3188771852" sldId="2147480890"/>
            <ac:spMk id="40" creationId="{43EC988C-060A-D0DE-6300-56088847C515}"/>
          </ac:spMkLst>
        </pc:spChg>
        <pc:spChg chg="mod">
          <ac:chgData name="Ana Blasi Sanchiz" userId="ade4f707-3308-4888-b575-5e32ac6efcc8" providerId="ADAL" clId="{D38BBDC4-9196-4534-BB5D-436C5F6D8958}" dt="2024-02-27T17:57:25.622" v="833" actId="1076"/>
          <ac:spMkLst>
            <pc:docMk/>
            <pc:sldMk cId="3188771852" sldId="2147480890"/>
            <ac:spMk id="41" creationId="{647B8223-E507-1EEF-12D1-68D5A5469B0E}"/>
          </ac:spMkLst>
        </pc:spChg>
        <pc:spChg chg="mod">
          <ac:chgData name="Ana Blasi Sanchiz" userId="ade4f707-3308-4888-b575-5e32ac6efcc8" providerId="ADAL" clId="{D38BBDC4-9196-4534-BB5D-436C5F6D8958}" dt="2024-02-27T17:57:25.622" v="833" actId="1076"/>
          <ac:spMkLst>
            <pc:docMk/>
            <pc:sldMk cId="3188771852" sldId="2147480890"/>
            <ac:spMk id="42" creationId="{7788E4A7-153A-4B7E-0358-4B7BED3F3BBD}"/>
          </ac:spMkLst>
        </pc:spChg>
        <pc:spChg chg="mod">
          <ac:chgData name="Ana Blasi Sanchiz" userId="ade4f707-3308-4888-b575-5e32ac6efcc8" providerId="ADAL" clId="{D38BBDC4-9196-4534-BB5D-436C5F6D8958}" dt="2024-02-27T17:57:25.622" v="833" actId="1076"/>
          <ac:spMkLst>
            <pc:docMk/>
            <pc:sldMk cId="3188771852" sldId="2147480890"/>
            <ac:spMk id="43" creationId="{AA85A290-9B06-0EB3-026A-FB7E37653DE2}"/>
          </ac:spMkLst>
        </pc:spChg>
        <pc:spChg chg="mod">
          <ac:chgData name="Ana Blasi Sanchiz" userId="ade4f707-3308-4888-b575-5e32ac6efcc8" providerId="ADAL" clId="{D38BBDC4-9196-4534-BB5D-436C5F6D8958}" dt="2024-02-27T17:57:25.622" v="833" actId="1076"/>
          <ac:spMkLst>
            <pc:docMk/>
            <pc:sldMk cId="3188771852" sldId="2147480890"/>
            <ac:spMk id="44" creationId="{D39A5438-F4B3-D4BE-DA9B-C19155951153}"/>
          </ac:spMkLst>
        </pc:spChg>
        <pc:spChg chg="mod">
          <ac:chgData name="Ana Blasi Sanchiz" userId="ade4f707-3308-4888-b575-5e32ac6efcc8" providerId="ADAL" clId="{D38BBDC4-9196-4534-BB5D-436C5F6D8958}" dt="2024-02-27T17:57:25.622" v="833" actId="1076"/>
          <ac:spMkLst>
            <pc:docMk/>
            <pc:sldMk cId="3188771852" sldId="2147480890"/>
            <ac:spMk id="45" creationId="{8794B1FB-1455-0C96-AE5F-B2AE809D119F}"/>
          </ac:spMkLst>
        </pc:spChg>
        <pc:spChg chg="mod">
          <ac:chgData name="Ana Blasi Sanchiz" userId="ade4f707-3308-4888-b575-5e32ac6efcc8" providerId="ADAL" clId="{D38BBDC4-9196-4534-BB5D-436C5F6D8958}" dt="2024-02-27T17:57:25.622" v="833" actId="1076"/>
          <ac:spMkLst>
            <pc:docMk/>
            <pc:sldMk cId="3188771852" sldId="2147480890"/>
            <ac:spMk id="46" creationId="{1387192C-9B1F-AAD7-45EC-36FDFDF369C4}"/>
          </ac:spMkLst>
        </pc:spChg>
        <pc:spChg chg="mod">
          <ac:chgData name="Ana Blasi Sanchiz" userId="ade4f707-3308-4888-b575-5e32ac6efcc8" providerId="ADAL" clId="{D38BBDC4-9196-4534-BB5D-436C5F6D8958}" dt="2024-02-27T17:57:25.622" v="833" actId="1076"/>
          <ac:spMkLst>
            <pc:docMk/>
            <pc:sldMk cId="3188771852" sldId="2147480890"/>
            <ac:spMk id="47" creationId="{EFCF230E-3B51-3F60-6BA6-289E983866AE}"/>
          </ac:spMkLst>
        </pc:spChg>
        <pc:spChg chg="mod">
          <ac:chgData name="Ana Blasi Sanchiz" userId="ade4f707-3308-4888-b575-5e32ac6efcc8" providerId="ADAL" clId="{D38BBDC4-9196-4534-BB5D-436C5F6D8958}" dt="2024-02-27T17:57:25.622" v="833" actId="1076"/>
          <ac:spMkLst>
            <pc:docMk/>
            <pc:sldMk cId="3188771852" sldId="2147480890"/>
            <ac:spMk id="48" creationId="{23D84DFE-683A-888D-AA1F-6992A997F2EF}"/>
          </ac:spMkLst>
        </pc:spChg>
        <pc:spChg chg="mod">
          <ac:chgData name="Ana Blasi Sanchiz" userId="ade4f707-3308-4888-b575-5e32ac6efcc8" providerId="ADAL" clId="{D38BBDC4-9196-4534-BB5D-436C5F6D8958}" dt="2024-02-27T17:57:25.622" v="833" actId="1076"/>
          <ac:spMkLst>
            <pc:docMk/>
            <pc:sldMk cId="3188771852" sldId="2147480890"/>
            <ac:spMk id="49" creationId="{41F88673-9B41-5B6B-01B4-776737B3657D}"/>
          </ac:spMkLst>
        </pc:spChg>
        <pc:spChg chg="mod">
          <ac:chgData name="Ana Blasi Sanchiz" userId="ade4f707-3308-4888-b575-5e32ac6efcc8" providerId="ADAL" clId="{D38BBDC4-9196-4534-BB5D-436C5F6D8958}" dt="2024-02-27T17:57:25.622" v="833" actId="1076"/>
          <ac:spMkLst>
            <pc:docMk/>
            <pc:sldMk cId="3188771852" sldId="2147480890"/>
            <ac:spMk id="50" creationId="{4C889B29-0578-C7B4-649D-52EF65ADF7C3}"/>
          </ac:spMkLst>
        </pc:spChg>
        <pc:spChg chg="mod">
          <ac:chgData name="Ana Blasi Sanchiz" userId="ade4f707-3308-4888-b575-5e32ac6efcc8" providerId="ADAL" clId="{D38BBDC4-9196-4534-BB5D-436C5F6D8958}" dt="2024-02-27T17:57:25.622" v="833" actId="1076"/>
          <ac:spMkLst>
            <pc:docMk/>
            <pc:sldMk cId="3188771852" sldId="2147480890"/>
            <ac:spMk id="51" creationId="{BF786BA9-35F7-7766-DE5C-05C549F3F86D}"/>
          </ac:spMkLst>
        </pc:spChg>
        <pc:spChg chg="mod">
          <ac:chgData name="Ana Blasi Sanchiz" userId="ade4f707-3308-4888-b575-5e32ac6efcc8" providerId="ADAL" clId="{D38BBDC4-9196-4534-BB5D-436C5F6D8958}" dt="2024-02-27T17:57:25.622" v="833" actId="1076"/>
          <ac:spMkLst>
            <pc:docMk/>
            <pc:sldMk cId="3188771852" sldId="2147480890"/>
            <ac:spMk id="52" creationId="{DB292299-A755-790A-1FB9-A6DDDB936D36}"/>
          </ac:spMkLst>
        </pc:spChg>
        <pc:spChg chg="mod">
          <ac:chgData name="Ana Blasi Sanchiz" userId="ade4f707-3308-4888-b575-5e32ac6efcc8" providerId="ADAL" clId="{D38BBDC4-9196-4534-BB5D-436C5F6D8958}" dt="2024-02-27T17:57:25.622" v="833" actId="1076"/>
          <ac:spMkLst>
            <pc:docMk/>
            <pc:sldMk cId="3188771852" sldId="2147480890"/>
            <ac:spMk id="53" creationId="{F13F22BB-8657-E916-DC9C-C7CBD68A608D}"/>
          </ac:spMkLst>
        </pc:spChg>
        <pc:spChg chg="mod">
          <ac:chgData name="Ana Blasi Sanchiz" userId="ade4f707-3308-4888-b575-5e32ac6efcc8" providerId="ADAL" clId="{D38BBDC4-9196-4534-BB5D-436C5F6D8958}" dt="2024-02-27T17:57:25.622" v="833" actId="1076"/>
          <ac:spMkLst>
            <pc:docMk/>
            <pc:sldMk cId="3188771852" sldId="2147480890"/>
            <ac:spMk id="54" creationId="{EC6878BF-C4BF-20AC-D3B3-989C8BCC1934}"/>
          </ac:spMkLst>
        </pc:spChg>
        <pc:spChg chg="mod">
          <ac:chgData name="Ana Blasi Sanchiz" userId="ade4f707-3308-4888-b575-5e32ac6efcc8" providerId="ADAL" clId="{D38BBDC4-9196-4534-BB5D-436C5F6D8958}" dt="2024-02-27T17:57:25.622" v="833" actId="1076"/>
          <ac:spMkLst>
            <pc:docMk/>
            <pc:sldMk cId="3188771852" sldId="2147480890"/>
            <ac:spMk id="55" creationId="{F1EE2935-59AD-D523-5F7F-509469D6914C}"/>
          </ac:spMkLst>
        </pc:spChg>
        <pc:spChg chg="mod">
          <ac:chgData name="Ana Blasi Sanchiz" userId="ade4f707-3308-4888-b575-5e32ac6efcc8" providerId="ADAL" clId="{D38BBDC4-9196-4534-BB5D-436C5F6D8958}" dt="2024-02-27T17:57:25.622" v="833" actId="1076"/>
          <ac:spMkLst>
            <pc:docMk/>
            <pc:sldMk cId="3188771852" sldId="2147480890"/>
            <ac:spMk id="56" creationId="{3B3137FC-7163-3CEB-6A52-6B229B6B6A53}"/>
          </ac:spMkLst>
        </pc:spChg>
        <pc:spChg chg="mod">
          <ac:chgData name="Ana Blasi Sanchiz" userId="ade4f707-3308-4888-b575-5e32ac6efcc8" providerId="ADAL" clId="{D38BBDC4-9196-4534-BB5D-436C5F6D8958}" dt="2024-02-27T17:57:25.622" v="833" actId="1076"/>
          <ac:spMkLst>
            <pc:docMk/>
            <pc:sldMk cId="3188771852" sldId="2147480890"/>
            <ac:spMk id="57" creationId="{2856B18B-0C86-C84E-8D1A-8B894999496C}"/>
          </ac:spMkLst>
        </pc:spChg>
        <pc:spChg chg="mod">
          <ac:chgData name="Ana Blasi Sanchiz" userId="ade4f707-3308-4888-b575-5e32ac6efcc8" providerId="ADAL" clId="{D38BBDC4-9196-4534-BB5D-436C5F6D8958}" dt="2024-02-27T17:57:25.622" v="833" actId="1076"/>
          <ac:spMkLst>
            <pc:docMk/>
            <pc:sldMk cId="3188771852" sldId="2147480890"/>
            <ac:spMk id="58" creationId="{E554D474-45A8-5DF2-A073-68D527BB331A}"/>
          </ac:spMkLst>
        </pc:spChg>
        <pc:spChg chg="mod">
          <ac:chgData name="Ana Blasi Sanchiz" userId="ade4f707-3308-4888-b575-5e32ac6efcc8" providerId="ADAL" clId="{D38BBDC4-9196-4534-BB5D-436C5F6D8958}" dt="2024-02-27T17:57:25.622" v="833" actId="1076"/>
          <ac:spMkLst>
            <pc:docMk/>
            <pc:sldMk cId="3188771852" sldId="2147480890"/>
            <ac:spMk id="59" creationId="{E4A376D2-38A5-8CA1-729E-7AD1545FA28D}"/>
          </ac:spMkLst>
        </pc:spChg>
        <pc:spChg chg="mod">
          <ac:chgData name="Ana Blasi Sanchiz" userId="ade4f707-3308-4888-b575-5e32ac6efcc8" providerId="ADAL" clId="{D38BBDC4-9196-4534-BB5D-436C5F6D8958}" dt="2024-02-27T17:57:25.622" v="833" actId="1076"/>
          <ac:spMkLst>
            <pc:docMk/>
            <pc:sldMk cId="3188771852" sldId="2147480890"/>
            <ac:spMk id="60" creationId="{1E4CAB42-6213-2CE9-1E07-5E825CB617C9}"/>
          </ac:spMkLst>
        </pc:spChg>
        <pc:spChg chg="mod">
          <ac:chgData name="Ana Blasi Sanchiz" userId="ade4f707-3308-4888-b575-5e32ac6efcc8" providerId="ADAL" clId="{D38BBDC4-9196-4534-BB5D-436C5F6D8958}" dt="2024-02-27T17:57:25.622" v="833" actId="1076"/>
          <ac:spMkLst>
            <pc:docMk/>
            <pc:sldMk cId="3188771852" sldId="2147480890"/>
            <ac:spMk id="61" creationId="{8DA6E8DD-E416-0A58-CCBC-97E79EF5770A}"/>
          </ac:spMkLst>
        </pc:spChg>
        <pc:spChg chg="mod">
          <ac:chgData name="Ana Blasi Sanchiz" userId="ade4f707-3308-4888-b575-5e32ac6efcc8" providerId="ADAL" clId="{D38BBDC4-9196-4534-BB5D-436C5F6D8958}" dt="2024-02-27T17:57:25.622" v="833" actId="1076"/>
          <ac:spMkLst>
            <pc:docMk/>
            <pc:sldMk cId="3188771852" sldId="2147480890"/>
            <ac:spMk id="62" creationId="{BAF1982B-9D9C-ABF4-77CE-D5F0BC41B25D}"/>
          </ac:spMkLst>
        </pc:spChg>
        <pc:spChg chg="mod">
          <ac:chgData name="Ana Blasi Sanchiz" userId="ade4f707-3308-4888-b575-5e32ac6efcc8" providerId="ADAL" clId="{D38BBDC4-9196-4534-BB5D-436C5F6D8958}" dt="2024-02-27T17:57:25.622" v="833" actId="1076"/>
          <ac:spMkLst>
            <pc:docMk/>
            <pc:sldMk cId="3188771852" sldId="2147480890"/>
            <ac:spMk id="63" creationId="{7B41AD21-6388-B28A-6D4D-D9D98969F732}"/>
          </ac:spMkLst>
        </pc:spChg>
        <pc:spChg chg="mod">
          <ac:chgData name="Ana Blasi Sanchiz" userId="ade4f707-3308-4888-b575-5e32ac6efcc8" providerId="ADAL" clId="{D38BBDC4-9196-4534-BB5D-436C5F6D8958}" dt="2024-02-27T17:57:25.622" v="833" actId="1076"/>
          <ac:spMkLst>
            <pc:docMk/>
            <pc:sldMk cId="3188771852" sldId="2147480890"/>
            <ac:spMk id="64" creationId="{C1BDB832-320E-817F-1181-CB60F725811E}"/>
          </ac:spMkLst>
        </pc:spChg>
        <pc:spChg chg="mod">
          <ac:chgData name="Ana Blasi Sanchiz" userId="ade4f707-3308-4888-b575-5e32ac6efcc8" providerId="ADAL" clId="{D38BBDC4-9196-4534-BB5D-436C5F6D8958}" dt="2024-02-27T17:57:25.622" v="833" actId="1076"/>
          <ac:spMkLst>
            <pc:docMk/>
            <pc:sldMk cId="3188771852" sldId="2147480890"/>
            <ac:spMk id="65" creationId="{FB833C5C-6D1A-C0E6-DD04-EE5972A44A0E}"/>
          </ac:spMkLst>
        </pc:spChg>
        <pc:spChg chg="mod">
          <ac:chgData name="Ana Blasi Sanchiz" userId="ade4f707-3308-4888-b575-5e32ac6efcc8" providerId="ADAL" clId="{D38BBDC4-9196-4534-BB5D-436C5F6D8958}" dt="2024-02-27T17:57:25.622" v="833" actId="1076"/>
          <ac:spMkLst>
            <pc:docMk/>
            <pc:sldMk cId="3188771852" sldId="2147480890"/>
            <ac:spMk id="66" creationId="{CCDDEF25-05D9-8982-910B-1A9BAEFD6CDA}"/>
          </ac:spMkLst>
        </pc:spChg>
        <pc:spChg chg="mod">
          <ac:chgData name="Ana Blasi Sanchiz" userId="ade4f707-3308-4888-b575-5e32ac6efcc8" providerId="ADAL" clId="{D38BBDC4-9196-4534-BB5D-436C5F6D8958}" dt="2024-02-27T17:57:25.622" v="833" actId="1076"/>
          <ac:spMkLst>
            <pc:docMk/>
            <pc:sldMk cId="3188771852" sldId="2147480890"/>
            <ac:spMk id="67" creationId="{D8145EE5-7B92-F5B6-F147-7DE93390E256}"/>
          </ac:spMkLst>
        </pc:spChg>
        <pc:spChg chg="mod">
          <ac:chgData name="Ana Blasi Sanchiz" userId="ade4f707-3308-4888-b575-5e32ac6efcc8" providerId="ADAL" clId="{D38BBDC4-9196-4534-BB5D-436C5F6D8958}" dt="2024-02-27T17:57:25.622" v="833" actId="1076"/>
          <ac:spMkLst>
            <pc:docMk/>
            <pc:sldMk cId="3188771852" sldId="2147480890"/>
            <ac:spMk id="68" creationId="{C042B318-4318-3AD6-3653-6803758099BA}"/>
          </ac:spMkLst>
        </pc:spChg>
        <pc:spChg chg="mod">
          <ac:chgData name="Ana Blasi Sanchiz" userId="ade4f707-3308-4888-b575-5e32ac6efcc8" providerId="ADAL" clId="{D38BBDC4-9196-4534-BB5D-436C5F6D8958}" dt="2024-02-27T17:57:25.622" v="833" actId="1076"/>
          <ac:spMkLst>
            <pc:docMk/>
            <pc:sldMk cId="3188771852" sldId="2147480890"/>
            <ac:spMk id="69" creationId="{FD99C1B0-0FF5-1CE5-2C6F-98F4F7F39BFE}"/>
          </ac:spMkLst>
        </pc:spChg>
        <pc:spChg chg="mod">
          <ac:chgData name="Ana Blasi Sanchiz" userId="ade4f707-3308-4888-b575-5e32ac6efcc8" providerId="ADAL" clId="{D38BBDC4-9196-4534-BB5D-436C5F6D8958}" dt="2024-02-27T17:57:25.622" v="833" actId="1076"/>
          <ac:spMkLst>
            <pc:docMk/>
            <pc:sldMk cId="3188771852" sldId="2147480890"/>
            <ac:spMk id="70" creationId="{994D96D2-0879-8448-992F-D64D092DAA8D}"/>
          </ac:spMkLst>
        </pc:spChg>
        <pc:spChg chg="mod">
          <ac:chgData name="Ana Blasi Sanchiz" userId="ade4f707-3308-4888-b575-5e32ac6efcc8" providerId="ADAL" clId="{D38BBDC4-9196-4534-BB5D-436C5F6D8958}" dt="2024-02-27T17:57:25.622" v="833" actId="1076"/>
          <ac:spMkLst>
            <pc:docMk/>
            <pc:sldMk cId="3188771852" sldId="2147480890"/>
            <ac:spMk id="71" creationId="{C442E10D-27BC-C4DA-7C04-389B5768CD92}"/>
          </ac:spMkLst>
        </pc:spChg>
        <pc:spChg chg="mod">
          <ac:chgData name="Ana Blasi Sanchiz" userId="ade4f707-3308-4888-b575-5e32ac6efcc8" providerId="ADAL" clId="{D38BBDC4-9196-4534-BB5D-436C5F6D8958}" dt="2024-02-27T17:57:25.622" v="833" actId="1076"/>
          <ac:spMkLst>
            <pc:docMk/>
            <pc:sldMk cId="3188771852" sldId="2147480890"/>
            <ac:spMk id="72" creationId="{3A6C7084-14E5-5B57-1B74-9EF5802D7001}"/>
          </ac:spMkLst>
        </pc:spChg>
        <pc:spChg chg="mod">
          <ac:chgData name="Ana Blasi Sanchiz" userId="ade4f707-3308-4888-b575-5e32ac6efcc8" providerId="ADAL" clId="{D38BBDC4-9196-4534-BB5D-436C5F6D8958}" dt="2024-02-27T17:57:25.622" v="833" actId="1076"/>
          <ac:spMkLst>
            <pc:docMk/>
            <pc:sldMk cId="3188771852" sldId="2147480890"/>
            <ac:spMk id="73" creationId="{14D4BF5D-8814-0259-07DA-C84B25272047}"/>
          </ac:spMkLst>
        </pc:spChg>
        <pc:spChg chg="mod">
          <ac:chgData name="Ana Blasi Sanchiz" userId="ade4f707-3308-4888-b575-5e32ac6efcc8" providerId="ADAL" clId="{D38BBDC4-9196-4534-BB5D-436C5F6D8958}" dt="2024-02-27T17:57:22.251" v="832"/>
          <ac:spMkLst>
            <pc:docMk/>
            <pc:sldMk cId="3188771852" sldId="2147480890"/>
            <ac:spMk id="75" creationId="{F3DB85E5-3839-1867-92B8-3D0EE036E2BB}"/>
          </ac:spMkLst>
        </pc:spChg>
        <pc:spChg chg="mod">
          <ac:chgData name="Ana Blasi Sanchiz" userId="ade4f707-3308-4888-b575-5e32ac6efcc8" providerId="ADAL" clId="{D38BBDC4-9196-4534-BB5D-436C5F6D8958}" dt="2024-02-27T17:57:22.251" v="832"/>
          <ac:spMkLst>
            <pc:docMk/>
            <pc:sldMk cId="3188771852" sldId="2147480890"/>
            <ac:spMk id="76" creationId="{2C7B423F-EDF7-B9A0-5A4F-F79AB39449C8}"/>
          </ac:spMkLst>
        </pc:spChg>
        <pc:spChg chg="mod">
          <ac:chgData name="Ana Blasi Sanchiz" userId="ade4f707-3308-4888-b575-5e32ac6efcc8" providerId="ADAL" clId="{D38BBDC4-9196-4534-BB5D-436C5F6D8958}" dt="2024-02-27T17:57:27.016" v="835" actId="571"/>
          <ac:spMkLst>
            <pc:docMk/>
            <pc:sldMk cId="3188771852" sldId="2147480890"/>
            <ac:spMk id="79" creationId="{D40817C4-4DFF-352C-5EA0-BF3DB633C34E}"/>
          </ac:spMkLst>
        </pc:spChg>
        <pc:spChg chg="mod">
          <ac:chgData name="Ana Blasi Sanchiz" userId="ade4f707-3308-4888-b575-5e32ac6efcc8" providerId="ADAL" clId="{D38BBDC4-9196-4534-BB5D-436C5F6D8958}" dt="2024-02-27T17:57:27.016" v="835" actId="571"/>
          <ac:spMkLst>
            <pc:docMk/>
            <pc:sldMk cId="3188771852" sldId="2147480890"/>
            <ac:spMk id="80" creationId="{C6E683A3-3F2E-0017-211F-B49F1132C723}"/>
          </ac:spMkLst>
        </pc:spChg>
        <pc:spChg chg="mod">
          <ac:chgData name="Ana Blasi Sanchiz" userId="ade4f707-3308-4888-b575-5e32ac6efcc8" providerId="ADAL" clId="{D38BBDC4-9196-4534-BB5D-436C5F6D8958}" dt="2024-02-27T17:57:27.016" v="835" actId="571"/>
          <ac:spMkLst>
            <pc:docMk/>
            <pc:sldMk cId="3188771852" sldId="2147480890"/>
            <ac:spMk id="81" creationId="{B43B06B7-3337-A370-8929-D30512A9CFA3}"/>
          </ac:spMkLst>
        </pc:spChg>
        <pc:spChg chg="mod">
          <ac:chgData name="Ana Blasi Sanchiz" userId="ade4f707-3308-4888-b575-5e32ac6efcc8" providerId="ADAL" clId="{D38BBDC4-9196-4534-BB5D-436C5F6D8958}" dt="2024-02-27T17:57:27.016" v="835" actId="571"/>
          <ac:spMkLst>
            <pc:docMk/>
            <pc:sldMk cId="3188771852" sldId="2147480890"/>
            <ac:spMk id="82" creationId="{29BECDA1-C455-5DE1-472E-D4B988212ACA}"/>
          </ac:spMkLst>
        </pc:spChg>
        <pc:spChg chg="mod">
          <ac:chgData name="Ana Blasi Sanchiz" userId="ade4f707-3308-4888-b575-5e32ac6efcc8" providerId="ADAL" clId="{D38BBDC4-9196-4534-BB5D-436C5F6D8958}" dt="2024-02-27T17:57:27.016" v="835" actId="571"/>
          <ac:spMkLst>
            <pc:docMk/>
            <pc:sldMk cId="3188771852" sldId="2147480890"/>
            <ac:spMk id="83" creationId="{5D703090-3FF0-E071-3B1F-8FE1E70595A8}"/>
          </ac:spMkLst>
        </pc:spChg>
        <pc:spChg chg="mod">
          <ac:chgData name="Ana Blasi Sanchiz" userId="ade4f707-3308-4888-b575-5e32ac6efcc8" providerId="ADAL" clId="{D38BBDC4-9196-4534-BB5D-436C5F6D8958}" dt="2024-02-27T17:57:27.016" v="835" actId="571"/>
          <ac:spMkLst>
            <pc:docMk/>
            <pc:sldMk cId="3188771852" sldId="2147480890"/>
            <ac:spMk id="84" creationId="{53CC2817-1049-C0A0-4308-03C99FEE3B7D}"/>
          </ac:spMkLst>
        </pc:spChg>
        <pc:spChg chg="mod">
          <ac:chgData name="Ana Blasi Sanchiz" userId="ade4f707-3308-4888-b575-5e32ac6efcc8" providerId="ADAL" clId="{D38BBDC4-9196-4534-BB5D-436C5F6D8958}" dt="2024-02-27T17:57:27.016" v="835" actId="571"/>
          <ac:spMkLst>
            <pc:docMk/>
            <pc:sldMk cId="3188771852" sldId="2147480890"/>
            <ac:spMk id="85" creationId="{E22B29A2-5EA3-1567-80AD-E897927B73C4}"/>
          </ac:spMkLst>
        </pc:spChg>
        <pc:spChg chg="mod">
          <ac:chgData name="Ana Blasi Sanchiz" userId="ade4f707-3308-4888-b575-5e32ac6efcc8" providerId="ADAL" clId="{D38BBDC4-9196-4534-BB5D-436C5F6D8958}" dt="2024-02-27T17:57:27.016" v="835" actId="571"/>
          <ac:spMkLst>
            <pc:docMk/>
            <pc:sldMk cId="3188771852" sldId="2147480890"/>
            <ac:spMk id="86" creationId="{3B5788F1-5564-93D1-EE81-D4C5A2036149}"/>
          </ac:spMkLst>
        </pc:spChg>
        <pc:spChg chg="mod">
          <ac:chgData name="Ana Blasi Sanchiz" userId="ade4f707-3308-4888-b575-5e32ac6efcc8" providerId="ADAL" clId="{D38BBDC4-9196-4534-BB5D-436C5F6D8958}" dt="2024-02-27T17:57:27.016" v="835" actId="571"/>
          <ac:spMkLst>
            <pc:docMk/>
            <pc:sldMk cId="3188771852" sldId="2147480890"/>
            <ac:spMk id="87" creationId="{B4F4BE27-7119-EB03-7E73-0E35B16636B2}"/>
          </ac:spMkLst>
        </pc:spChg>
        <pc:spChg chg="mod">
          <ac:chgData name="Ana Blasi Sanchiz" userId="ade4f707-3308-4888-b575-5e32ac6efcc8" providerId="ADAL" clId="{D38BBDC4-9196-4534-BB5D-436C5F6D8958}" dt="2024-02-27T17:57:27.016" v="835" actId="571"/>
          <ac:spMkLst>
            <pc:docMk/>
            <pc:sldMk cId="3188771852" sldId="2147480890"/>
            <ac:spMk id="88" creationId="{9A5A04E1-2E2E-C7D9-F252-16A2DC321BE9}"/>
          </ac:spMkLst>
        </pc:spChg>
        <pc:spChg chg="mod">
          <ac:chgData name="Ana Blasi Sanchiz" userId="ade4f707-3308-4888-b575-5e32ac6efcc8" providerId="ADAL" clId="{D38BBDC4-9196-4534-BB5D-436C5F6D8958}" dt="2024-02-27T17:57:27.016" v="835" actId="571"/>
          <ac:spMkLst>
            <pc:docMk/>
            <pc:sldMk cId="3188771852" sldId="2147480890"/>
            <ac:spMk id="89" creationId="{960A3F0A-286D-7B83-7F14-9B2EAFCD2000}"/>
          </ac:spMkLst>
        </pc:spChg>
        <pc:spChg chg="mod">
          <ac:chgData name="Ana Blasi Sanchiz" userId="ade4f707-3308-4888-b575-5e32ac6efcc8" providerId="ADAL" clId="{D38BBDC4-9196-4534-BB5D-436C5F6D8958}" dt="2024-02-27T17:57:27.016" v="835" actId="571"/>
          <ac:spMkLst>
            <pc:docMk/>
            <pc:sldMk cId="3188771852" sldId="2147480890"/>
            <ac:spMk id="90" creationId="{06DBDC14-C6F6-AB08-E151-6691833E18CD}"/>
          </ac:spMkLst>
        </pc:spChg>
        <pc:spChg chg="mod">
          <ac:chgData name="Ana Blasi Sanchiz" userId="ade4f707-3308-4888-b575-5e32ac6efcc8" providerId="ADAL" clId="{D38BBDC4-9196-4534-BB5D-436C5F6D8958}" dt="2024-02-27T17:57:27.016" v="835" actId="571"/>
          <ac:spMkLst>
            <pc:docMk/>
            <pc:sldMk cId="3188771852" sldId="2147480890"/>
            <ac:spMk id="91" creationId="{8662AA8F-FD06-C3D2-3EDC-C8A6DDC91A36}"/>
          </ac:spMkLst>
        </pc:spChg>
        <pc:spChg chg="mod">
          <ac:chgData name="Ana Blasi Sanchiz" userId="ade4f707-3308-4888-b575-5e32ac6efcc8" providerId="ADAL" clId="{D38BBDC4-9196-4534-BB5D-436C5F6D8958}" dt="2024-02-27T17:57:27.016" v="835" actId="571"/>
          <ac:spMkLst>
            <pc:docMk/>
            <pc:sldMk cId="3188771852" sldId="2147480890"/>
            <ac:spMk id="92" creationId="{5F1170FE-1835-C487-A47C-30034788720A}"/>
          </ac:spMkLst>
        </pc:spChg>
        <pc:spChg chg="mod">
          <ac:chgData name="Ana Blasi Sanchiz" userId="ade4f707-3308-4888-b575-5e32ac6efcc8" providerId="ADAL" clId="{D38BBDC4-9196-4534-BB5D-436C5F6D8958}" dt="2024-02-27T17:57:27.016" v="835" actId="571"/>
          <ac:spMkLst>
            <pc:docMk/>
            <pc:sldMk cId="3188771852" sldId="2147480890"/>
            <ac:spMk id="93" creationId="{6064345D-9446-AC5F-B001-A937D221C83D}"/>
          </ac:spMkLst>
        </pc:spChg>
        <pc:spChg chg="mod">
          <ac:chgData name="Ana Blasi Sanchiz" userId="ade4f707-3308-4888-b575-5e32ac6efcc8" providerId="ADAL" clId="{D38BBDC4-9196-4534-BB5D-436C5F6D8958}" dt="2024-02-27T17:57:27.016" v="835" actId="571"/>
          <ac:spMkLst>
            <pc:docMk/>
            <pc:sldMk cId="3188771852" sldId="2147480890"/>
            <ac:spMk id="94" creationId="{A27B8723-C79C-B436-819A-1433B5423C44}"/>
          </ac:spMkLst>
        </pc:spChg>
        <pc:spChg chg="mod">
          <ac:chgData name="Ana Blasi Sanchiz" userId="ade4f707-3308-4888-b575-5e32ac6efcc8" providerId="ADAL" clId="{D38BBDC4-9196-4534-BB5D-436C5F6D8958}" dt="2024-02-27T17:57:27.016" v="835" actId="571"/>
          <ac:spMkLst>
            <pc:docMk/>
            <pc:sldMk cId="3188771852" sldId="2147480890"/>
            <ac:spMk id="95" creationId="{08881F07-F905-C96F-D698-074F7EDB7ABE}"/>
          </ac:spMkLst>
        </pc:spChg>
        <pc:spChg chg="mod">
          <ac:chgData name="Ana Blasi Sanchiz" userId="ade4f707-3308-4888-b575-5e32ac6efcc8" providerId="ADAL" clId="{D38BBDC4-9196-4534-BB5D-436C5F6D8958}" dt="2024-02-27T17:57:27.016" v="835" actId="571"/>
          <ac:spMkLst>
            <pc:docMk/>
            <pc:sldMk cId="3188771852" sldId="2147480890"/>
            <ac:spMk id="96" creationId="{7F92C3ED-DADF-2183-7A3A-8FD72C250A48}"/>
          </ac:spMkLst>
        </pc:spChg>
        <pc:spChg chg="mod">
          <ac:chgData name="Ana Blasi Sanchiz" userId="ade4f707-3308-4888-b575-5e32ac6efcc8" providerId="ADAL" clId="{D38BBDC4-9196-4534-BB5D-436C5F6D8958}" dt="2024-02-27T17:57:27.016" v="835" actId="571"/>
          <ac:spMkLst>
            <pc:docMk/>
            <pc:sldMk cId="3188771852" sldId="2147480890"/>
            <ac:spMk id="97" creationId="{B3237341-6821-BF36-A895-29721E3AB746}"/>
          </ac:spMkLst>
        </pc:spChg>
        <pc:spChg chg="mod">
          <ac:chgData name="Ana Blasi Sanchiz" userId="ade4f707-3308-4888-b575-5e32ac6efcc8" providerId="ADAL" clId="{D38BBDC4-9196-4534-BB5D-436C5F6D8958}" dt="2024-02-27T17:57:27.016" v="835" actId="571"/>
          <ac:spMkLst>
            <pc:docMk/>
            <pc:sldMk cId="3188771852" sldId="2147480890"/>
            <ac:spMk id="98" creationId="{4AAC20A6-7902-C0FE-829D-95CFE9CBAAA0}"/>
          </ac:spMkLst>
        </pc:spChg>
        <pc:spChg chg="mod">
          <ac:chgData name="Ana Blasi Sanchiz" userId="ade4f707-3308-4888-b575-5e32ac6efcc8" providerId="ADAL" clId="{D38BBDC4-9196-4534-BB5D-436C5F6D8958}" dt="2024-02-27T17:57:27.016" v="835" actId="571"/>
          <ac:spMkLst>
            <pc:docMk/>
            <pc:sldMk cId="3188771852" sldId="2147480890"/>
            <ac:spMk id="99" creationId="{4A4B7ECD-2D92-D428-0BEA-BA7AAF4A85DC}"/>
          </ac:spMkLst>
        </pc:spChg>
        <pc:spChg chg="mod">
          <ac:chgData name="Ana Blasi Sanchiz" userId="ade4f707-3308-4888-b575-5e32ac6efcc8" providerId="ADAL" clId="{D38BBDC4-9196-4534-BB5D-436C5F6D8958}" dt="2024-02-27T17:57:27.016" v="835" actId="571"/>
          <ac:spMkLst>
            <pc:docMk/>
            <pc:sldMk cId="3188771852" sldId="2147480890"/>
            <ac:spMk id="100" creationId="{D753688A-1DD5-2080-EB5E-0CD931E97B47}"/>
          </ac:spMkLst>
        </pc:spChg>
        <pc:spChg chg="mod">
          <ac:chgData name="Ana Blasi Sanchiz" userId="ade4f707-3308-4888-b575-5e32ac6efcc8" providerId="ADAL" clId="{D38BBDC4-9196-4534-BB5D-436C5F6D8958}" dt="2024-02-27T17:57:27.016" v="835" actId="571"/>
          <ac:spMkLst>
            <pc:docMk/>
            <pc:sldMk cId="3188771852" sldId="2147480890"/>
            <ac:spMk id="101" creationId="{D7D1A423-6AC8-572B-2E99-E73D88C2C025}"/>
          </ac:spMkLst>
        </pc:spChg>
        <pc:spChg chg="mod">
          <ac:chgData name="Ana Blasi Sanchiz" userId="ade4f707-3308-4888-b575-5e32ac6efcc8" providerId="ADAL" clId="{D38BBDC4-9196-4534-BB5D-436C5F6D8958}" dt="2024-02-27T17:57:27.016" v="835" actId="571"/>
          <ac:spMkLst>
            <pc:docMk/>
            <pc:sldMk cId="3188771852" sldId="2147480890"/>
            <ac:spMk id="102" creationId="{3769738E-F87C-8FA7-3D07-FCB5A97D7153}"/>
          </ac:spMkLst>
        </pc:spChg>
        <pc:spChg chg="mod">
          <ac:chgData name="Ana Blasi Sanchiz" userId="ade4f707-3308-4888-b575-5e32ac6efcc8" providerId="ADAL" clId="{D38BBDC4-9196-4534-BB5D-436C5F6D8958}" dt="2024-02-27T17:57:27.016" v="835" actId="571"/>
          <ac:spMkLst>
            <pc:docMk/>
            <pc:sldMk cId="3188771852" sldId="2147480890"/>
            <ac:spMk id="103" creationId="{A20445B4-E51F-0FF1-F212-3F16A1C341D6}"/>
          </ac:spMkLst>
        </pc:spChg>
        <pc:spChg chg="mod">
          <ac:chgData name="Ana Blasi Sanchiz" userId="ade4f707-3308-4888-b575-5e32ac6efcc8" providerId="ADAL" clId="{D38BBDC4-9196-4534-BB5D-436C5F6D8958}" dt="2024-02-27T17:57:27.016" v="835" actId="571"/>
          <ac:spMkLst>
            <pc:docMk/>
            <pc:sldMk cId="3188771852" sldId="2147480890"/>
            <ac:spMk id="104" creationId="{52E8CDC7-2A86-C44E-53A9-5E248352BBD7}"/>
          </ac:spMkLst>
        </pc:spChg>
        <pc:spChg chg="mod">
          <ac:chgData name="Ana Blasi Sanchiz" userId="ade4f707-3308-4888-b575-5e32ac6efcc8" providerId="ADAL" clId="{D38BBDC4-9196-4534-BB5D-436C5F6D8958}" dt="2024-02-27T17:57:27.016" v="835" actId="571"/>
          <ac:spMkLst>
            <pc:docMk/>
            <pc:sldMk cId="3188771852" sldId="2147480890"/>
            <ac:spMk id="105" creationId="{02C65DAC-EA8A-D108-BCBA-4B916B635AA5}"/>
          </ac:spMkLst>
        </pc:spChg>
        <pc:spChg chg="mod">
          <ac:chgData name="Ana Blasi Sanchiz" userId="ade4f707-3308-4888-b575-5e32ac6efcc8" providerId="ADAL" clId="{D38BBDC4-9196-4534-BB5D-436C5F6D8958}" dt="2024-02-27T17:57:27.016" v="835" actId="571"/>
          <ac:spMkLst>
            <pc:docMk/>
            <pc:sldMk cId="3188771852" sldId="2147480890"/>
            <ac:spMk id="106" creationId="{8CEEA4FE-EBF6-AD62-CF1E-9066DDDA0072}"/>
          </ac:spMkLst>
        </pc:spChg>
        <pc:spChg chg="mod">
          <ac:chgData name="Ana Blasi Sanchiz" userId="ade4f707-3308-4888-b575-5e32ac6efcc8" providerId="ADAL" clId="{D38BBDC4-9196-4534-BB5D-436C5F6D8958}" dt="2024-02-27T17:57:27.016" v="835" actId="571"/>
          <ac:spMkLst>
            <pc:docMk/>
            <pc:sldMk cId="3188771852" sldId="2147480890"/>
            <ac:spMk id="107" creationId="{7C6099C1-AF0C-D3AF-2415-864026B9269D}"/>
          </ac:spMkLst>
        </pc:spChg>
        <pc:spChg chg="mod">
          <ac:chgData name="Ana Blasi Sanchiz" userId="ade4f707-3308-4888-b575-5e32ac6efcc8" providerId="ADAL" clId="{D38BBDC4-9196-4534-BB5D-436C5F6D8958}" dt="2024-02-27T17:57:27.016" v="835" actId="571"/>
          <ac:spMkLst>
            <pc:docMk/>
            <pc:sldMk cId="3188771852" sldId="2147480890"/>
            <ac:spMk id="108" creationId="{044D3E4B-58E3-4CC7-7AC2-4EC24F0DA114}"/>
          </ac:spMkLst>
        </pc:spChg>
        <pc:spChg chg="mod">
          <ac:chgData name="Ana Blasi Sanchiz" userId="ade4f707-3308-4888-b575-5e32ac6efcc8" providerId="ADAL" clId="{D38BBDC4-9196-4534-BB5D-436C5F6D8958}" dt="2024-02-27T17:57:27.016" v="835" actId="571"/>
          <ac:spMkLst>
            <pc:docMk/>
            <pc:sldMk cId="3188771852" sldId="2147480890"/>
            <ac:spMk id="109" creationId="{58A95858-3AD0-3E0F-1B7C-73A53D09D474}"/>
          </ac:spMkLst>
        </pc:spChg>
        <pc:spChg chg="mod">
          <ac:chgData name="Ana Blasi Sanchiz" userId="ade4f707-3308-4888-b575-5e32ac6efcc8" providerId="ADAL" clId="{D38BBDC4-9196-4534-BB5D-436C5F6D8958}" dt="2024-02-27T17:57:27.016" v="835" actId="571"/>
          <ac:spMkLst>
            <pc:docMk/>
            <pc:sldMk cId="3188771852" sldId="2147480890"/>
            <ac:spMk id="110" creationId="{68A802C9-46C9-8C69-CD95-BDA70216FF72}"/>
          </ac:spMkLst>
        </pc:spChg>
        <pc:spChg chg="mod">
          <ac:chgData name="Ana Blasi Sanchiz" userId="ade4f707-3308-4888-b575-5e32ac6efcc8" providerId="ADAL" clId="{D38BBDC4-9196-4534-BB5D-436C5F6D8958}" dt="2024-02-27T17:57:27.016" v="835" actId="571"/>
          <ac:spMkLst>
            <pc:docMk/>
            <pc:sldMk cId="3188771852" sldId="2147480890"/>
            <ac:spMk id="111" creationId="{D9CDBB46-6675-8A96-1E1B-E22A9AB4F19B}"/>
          </ac:spMkLst>
        </pc:spChg>
        <pc:spChg chg="mod">
          <ac:chgData name="Ana Blasi Sanchiz" userId="ade4f707-3308-4888-b575-5e32ac6efcc8" providerId="ADAL" clId="{D38BBDC4-9196-4534-BB5D-436C5F6D8958}" dt="2024-02-27T17:57:27.016" v="835" actId="571"/>
          <ac:spMkLst>
            <pc:docMk/>
            <pc:sldMk cId="3188771852" sldId="2147480890"/>
            <ac:spMk id="112" creationId="{28A32CA5-5727-5520-12B3-8F77B6BFFD5E}"/>
          </ac:spMkLst>
        </pc:spChg>
        <pc:spChg chg="mod">
          <ac:chgData name="Ana Blasi Sanchiz" userId="ade4f707-3308-4888-b575-5e32ac6efcc8" providerId="ADAL" clId="{D38BBDC4-9196-4534-BB5D-436C5F6D8958}" dt="2024-02-27T17:57:27.016" v="835" actId="571"/>
          <ac:spMkLst>
            <pc:docMk/>
            <pc:sldMk cId="3188771852" sldId="2147480890"/>
            <ac:spMk id="113" creationId="{03C26364-EA4D-4E59-9D15-5AE19F05BFD6}"/>
          </ac:spMkLst>
        </pc:spChg>
        <pc:spChg chg="mod">
          <ac:chgData name="Ana Blasi Sanchiz" userId="ade4f707-3308-4888-b575-5e32ac6efcc8" providerId="ADAL" clId="{D38BBDC4-9196-4534-BB5D-436C5F6D8958}" dt="2024-02-27T17:57:27.016" v="835" actId="571"/>
          <ac:spMkLst>
            <pc:docMk/>
            <pc:sldMk cId="3188771852" sldId="2147480890"/>
            <ac:spMk id="114" creationId="{6F0FC1FB-D085-46C8-628C-EBF748CA23FF}"/>
          </ac:spMkLst>
        </pc:spChg>
        <pc:spChg chg="mod">
          <ac:chgData name="Ana Blasi Sanchiz" userId="ade4f707-3308-4888-b575-5e32ac6efcc8" providerId="ADAL" clId="{D38BBDC4-9196-4534-BB5D-436C5F6D8958}" dt="2024-02-27T17:57:27.016" v="835" actId="571"/>
          <ac:spMkLst>
            <pc:docMk/>
            <pc:sldMk cId="3188771852" sldId="2147480890"/>
            <ac:spMk id="115" creationId="{66162CC2-AE2C-998E-812E-082DAECC3B81}"/>
          </ac:spMkLst>
        </pc:spChg>
        <pc:spChg chg="mod">
          <ac:chgData name="Ana Blasi Sanchiz" userId="ade4f707-3308-4888-b575-5e32ac6efcc8" providerId="ADAL" clId="{D38BBDC4-9196-4534-BB5D-436C5F6D8958}" dt="2024-02-27T17:57:27.016" v="835" actId="571"/>
          <ac:spMkLst>
            <pc:docMk/>
            <pc:sldMk cId="3188771852" sldId="2147480890"/>
            <ac:spMk id="116" creationId="{6C286651-211D-1B32-D050-A58B44596C3B}"/>
          </ac:spMkLst>
        </pc:spChg>
        <pc:spChg chg="mod">
          <ac:chgData name="Ana Blasi Sanchiz" userId="ade4f707-3308-4888-b575-5e32ac6efcc8" providerId="ADAL" clId="{D38BBDC4-9196-4534-BB5D-436C5F6D8958}" dt="2024-02-27T17:57:27.016" v="835" actId="571"/>
          <ac:spMkLst>
            <pc:docMk/>
            <pc:sldMk cId="3188771852" sldId="2147480890"/>
            <ac:spMk id="117" creationId="{F1346292-887D-30F3-EE8F-D401A44EF9EF}"/>
          </ac:spMkLst>
        </pc:spChg>
        <pc:spChg chg="mod">
          <ac:chgData name="Ana Blasi Sanchiz" userId="ade4f707-3308-4888-b575-5e32ac6efcc8" providerId="ADAL" clId="{D38BBDC4-9196-4534-BB5D-436C5F6D8958}" dt="2024-02-27T17:57:27.016" v="835" actId="571"/>
          <ac:spMkLst>
            <pc:docMk/>
            <pc:sldMk cId="3188771852" sldId="2147480890"/>
            <ac:spMk id="118" creationId="{E214A231-F2E0-8E0F-6F17-FA6147AAD5B7}"/>
          </ac:spMkLst>
        </pc:spChg>
        <pc:spChg chg="mod">
          <ac:chgData name="Ana Blasi Sanchiz" userId="ade4f707-3308-4888-b575-5e32ac6efcc8" providerId="ADAL" clId="{D38BBDC4-9196-4534-BB5D-436C5F6D8958}" dt="2024-02-27T17:57:27.016" v="835" actId="571"/>
          <ac:spMkLst>
            <pc:docMk/>
            <pc:sldMk cId="3188771852" sldId="2147480890"/>
            <ac:spMk id="119" creationId="{65851929-C736-AA5D-8317-CAE73F6FABE8}"/>
          </ac:spMkLst>
        </pc:spChg>
        <pc:spChg chg="mod">
          <ac:chgData name="Ana Blasi Sanchiz" userId="ade4f707-3308-4888-b575-5e32ac6efcc8" providerId="ADAL" clId="{D38BBDC4-9196-4534-BB5D-436C5F6D8958}" dt="2024-02-27T17:57:27.016" v="835" actId="571"/>
          <ac:spMkLst>
            <pc:docMk/>
            <pc:sldMk cId="3188771852" sldId="2147480890"/>
            <ac:spMk id="120" creationId="{6A0FCAA2-6495-DD49-AF1D-B568434B78CA}"/>
          </ac:spMkLst>
        </pc:spChg>
        <pc:spChg chg="mod">
          <ac:chgData name="Ana Blasi Sanchiz" userId="ade4f707-3308-4888-b575-5e32ac6efcc8" providerId="ADAL" clId="{D38BBDC4-9196-4534-BB5D-436C5F6D8958}" dt="2024-02-27T17:57:27.016" v="835" actId="571"/>
          <ac:spMkLst>
            <pc:docMk/>
            <pc:sldMk cId="3188771852" sldId="2147480890"/>
            <ac:spMk id="121" creationId="{54618C39-EB1A-FC52-3055-18F9F7958BF1}"/>
          </ac:spMkLst>
        </pc:spChg>
        <pc:spChg chg="mod">
          <ac:chgData name="Ana Blasi Sanchiz" userId="ade4f707-3308-4888-b575-5e32ac6efcc8" providerId="ADAL" clId="{D38BBDC4-9196-4534-BB5D-436C5F6D8958}" dt="2024-02-27T17:57:27.016" v="835" actId="571"/>
          <ac:spMkLst>
            <pc:docMk/>
            <pc:sldMk cId="3188771852" sldId="2147480890"/>
            <ac:spMk id="122" creationId="{567CEA3A-8BCD-22F8-C60D-FB2814EC77BC}"/>
          </ac:spMkLst>
        </pc:spChg>
        <pc:spChg chg="mod">
          <ac:chgData name="Ana Blasi Sanchiz" userId="ade4f707-3308-4888-b575-5e32ac6efcc8" providerId="ADAL" clId="{D38BBDC4-9196-4534-BB5D-436C5F6D8958}" dt="2024-02-27T17:57:27.016" v="835" actId="571"/>
          <ac:spMkLst>
            <pc:docMk/>
            <pc:sldMk cId="3188771852" sldId="2147480890"/>
            <ac:spMk id="123" creationId="{3FC38E79-43E7-F108-5CF1-8748730ABC63}"/>
          </ac:spMkLst>
        </pc:spChg>
        <pc:spChg chg="mod">
          <ac:chgData name="Ana Blasi Sanchiz" userId="ade4f707-3308-4888-b575-5e32ac6efcc8" providerId="ADAL" clId="{D38BBDC4-9196-4534-BB5D-436C5F6D8958}" dt="2024-02-27T17:57:27.016" v="835" actId="571"/>
          <ac:spMkLst>
            <pc:docMk/>
            <pc:sldMk cId="3188771852" sldId="2147480890"/>
            <ac:spMk id="124" creationId="{E22B8FC9-89F6-59DE-3D8D-7FAD4984F3CF}"/>
          </ac:spMkLst>
        </pc:spChg>
        <pc:spChg chg="mod">
          <ac:chgData name="Ana Blasi Sanchiz" userId="ade4f707-3308-4888-b575-5e32ac6efcc8" providerId="ADAL" clId="{D38BBDC4-9196-4534-BB5D-436C5F6D8958}" dt="2024-02-27T17:57:27.016" v="835" actId="571"/>
          <ac:spMkLst>
            <pc:docMk/>
            <pc:sldMk cId="3188771852" sldId="2147480890"/>
            <ac:spMk id="125" creationId="{0C4F84B7-3371-F331-0543-1ABF6B71B836}"/>
          </ac:spMkLst>
        </pc:spChg>
        <pc:spChg chg="mod">
          <ac:chgData name="Ana Blasi Sanchiz" userId="ade4f707-3308-4888-b575-5e32ac6efcc8" providerId="ADAL" clId="{D38BBDC4-9196-4534-BB5D-436C5F6D8958}" dt="2024-02-27T17:57:27.016" v="835" actId="571"/>
          <ac:spMkLst>
            <pc:docMk/>
            <pc:sldMk cId="3188771852" sldId="2147480890"/>
            <ac:spMk id="126" creationId="{396C6453-C015-24AC-7E99-362FBFA12210}"/>
          </ac:spMkLst>
        </pc:spChg>
        <pc:spChg chg="mod">
          <ac:chgData name="Ana Blasi Sanchiz" userId="ade4f707-3308-4888-b575-5e32ac6efcc8" providerId="ADAL" clId="{D38BBDC4-9196-4534-BB5D-436C5F6D8958}" dt="2024-02-27T17:57:27.016" v="835" actId="571"/>
          <ac:spMkLst>
            <pc:docMk/>
            <pc:sldMk cId="3188771852" sldId="2147480890"/>
            <ac:spMk id="127" creationId="{E63A23FE-13AD-B535-7D9F-4E76B2ACE3F4}"/>
          </ac:spMkLst>
        </pc:spChg>
        <pc:spChg chg="mod">
          <ac:chgData name="Ana Blasi Sanchiz" userId="ade4f707-3308-4888-b575-5e32ac6efcc8" providerId="ADAL" clId="{D38BBDC4-9196-4534-BB5D-436C5F6D8958}" dt="2024-02-27T17:57:27.016" v="835" actId="571"/>
          <ac:spMkLst>
            <pc:docMk/>
            <pc:sldMk cId="3188771852" sldId="2147480890"/>
            <ac:spMk id="128" creationId="{0D610B24-2233-0757-785E-F95663AD0AD6}"/>
          </ac:spMkLst>
        </pc:spChg>
        <pc:spChg chg="mod">
          <ac:chgData name="Ana Blasi Sanchiz" userId="ade4f707-3308-4888-b575-5e32ac6efcc8" providerId="ADAL" clId="{D38BBDC4-9196-4534-BB5D-436C5F6D8958}" dt="2024-02-27T17:57:27.016" v="835" actId="571"/>
          <ac:spMkLst>
            <pc:docMk/>
            <pc:sldMk cId="3188771852" sldId="2147480890"/>
            <ac:spMk id="129" creationId="{2C7CB345-23FC-46FD-4800-BD5C1EB0FCBD}"/>
          </ac:spMkLst>
        </pc:spChg>
        <pc:spChg chg="mod">
          <ac:chgData name="Ana Blasi Sanchiz" userId="ade4f707-3308-4888-b575-5e32ac6efcc8" providerId="ADAL" clId="{D38BBDC4-9196-4534-BB5D-436C5F6D8958}" dt="2024-02-27T17:57:27.016" v="835" actId="571"/>
          <ac:spMkLst>
            <pc:docMk/>
            <pc:sldMk cId="3188771852" sldId="2147480890"/>
            <ac:spMk id="130" creationId="{8BDD34E5-71D3-8C62-4DD6-8050EF9723C3}"/>
          </ac:spMkLst>
        </pc:spChg>
        <pc:spChg chg="mod">
          <ac:chgData name="Ana Blasi Sanchiz" userId="ade4f707-3308-4888-b575-5e32ac6efcc8" providerId="ADAL" clId="{D38BBDC4-9196-4534-BB5D-436C5F6D8958}" dt="2024-02-27T17:57:27.016" v="835" actId="571"/>
          <ac:spMkLst>
            <pc:docMk/>
            <pc:sldMk cId="3188771852" sldId="2147480890"/>
            <ac:spMk id="131" creationId="{77001B4F-EEC6-5413-F7D4-95E24CA48C52}"/>
          </ac:spMkLst>
        </pc:spChg>
        <pc:spChg chg="mod">
          <ac:chgData name="Ana Blasi Sanchiz" userId="ade4f707-3308-4888-b575-5e32ac6efcc8" providerId="ADAL" clId="{D38BBDC4-9196-4534-BB5D-436C5F6D8958}" dt="2024-02-27T17:57:27.016" v="835" actId="571"/>
          <ac:spMkLst>
            <pc:docMk/>
            <pc:sldMk cId="3188771852" sldId="2147480890"/>
            <ac:spMk id="132" creationId="{8AC33DE9-7DC9-8118-3AB9-2D5D1ED1E10E}"/>
          </ac:spMkLst>
        </pc:spChg>
        <pc:spChg chg="mod">
          <ac:chgData name="Ana Blasi Sanchiz" userId="ade4f707-3308-4888-b575-5e32ac6efcc8" providerId="ADAL" clId="{D38BBDC4-9196-4534-BB5D-436C5F6D8958}" dt="2024-02-27T17:57:27.016" v="835" actId="571"/>
          <ac:spMkLst>
            <pc:docMk/>
            <pc:sldMk cId="3188771852" sldId="2147480890"/>
            <ac:spMk id="133" creationId="{612AA9D3-387D-7DD0-4DE2-7F7CABA018D1}"/>
          </ac:spMkLst>
        </pc:spChg>
        <pc:spChg chg="mod">
          <ac:chgData name="Ana Blasi Sanchiz" userId="ade4f707-3308-4888-b575-5e32ac6efcc8" providerId="ADAL" clId="{D38BBDC4-9196-4534-BB5D-436C5F6D8958}" dt="2024-02-27T17:57:27.016" v="835" actId="571"/>
          <ac:spMkLst>
            <pc:docMk/>
            <pc:sldMk cId="3188771852" sldId="2147480890"/>
            <ac:spMk id="134" creationId="{1AF97BEC-FEF8-4852-DB6E-1E9ECD0E0A41}"/>
          </ac:spMkLst>
        </pc:spChg>
        <pc:spChg chg="mod">
          <ac:chgData name="Ana Blasi Sanchiz" userId="ade4f707-3308-4888-b575-5e32ac6efcc8" providerId="ADAL" clId="{D38BBDC4-9196-4534-BB5D-436C5F6D8958}" dt="2024-02-27T17:57:27.016" v="835" actId="571"/>
          <ac:spMkLst>
            <pc:docMk/>
            <pc:sldMk cId="3188771852" sldId="2147480890"/>
            <ac:spMk id="135" creationId="{4E562CD4-CAB2-7942-2BD1-A0FB2467C1A1}"/>
          </ac:spMkLst>
        </pc:spChg>
        <pc:spChg chg="mod">
          <ac:chgData name="Ana Blasi Sanchiz" userId="ade4f707-3308-4888-b575-5e32ac6efcc8" providerId="ADAL" clId="{D38BBDC4-9196-4534-BB5D-436C5F6D8958}" dt="2024-02-27T17:57:27.016" v="835" actId="571"/>
          <ac:spMkLst>
            <pc:docMk/>
            <pc:sldMk cId="3188771852" sldId="2147480890"/>
            <ac:spMk id="136" creationId="{23562B47-8C7B-03A8-7186-B06DEF4897F0}"/>
          </ac:spMkLst>
        </pc:spChg>
        <pc:spChg chg="mod">
          <ac:chgData name="Ana Blasi Sanchiz" userId="ade4f707-3308-4888-b575-5e32ac6efcc8" providerId="ADAL" clId="{D38BBDC4-9196-4534-BB5D-436C5F6D8958}" dt="2024-02-27T17:57:27.016" v="835" actId="571"/>
          <ac:spMkLst>
            <pc:docMk/>
            <pc:sldMk cId="3188771852" sldId="2147480890"/>
            <ac:spMk id="137" creationId="{D4B1F9FD-7163-57B9-82A8-779AF47AC897}"/>
          </ac:spMkLst>
        </pc:spChg>
        <pc:spChg chg="mod">
          <ac:chgData name="Ana Blasi Sanchiz" userId="ade4f707-3308-4888-b575-5e32ac6efcc8" providerId="ADAL" clId="{D38BBDC4-9196-4534-BB5D-436C5F6D8958}" dt="2024-02-27T17:57:27.016" v="835" actId="571"/>
          <ac:spMkLst>
            <pc:docMk/>
            <pc:sldMk cId="3188771852" sldId="2147480890"/>
            <ac:spMk id="138" creationId="{78296FC7-3991-80C5-AC2F-9F525B1C91EC}"/>
          </ac:spMkLst>
        </pc:spChg>
        <pc:spChg chg="mod">
          <ac:chgData name="Ana Blasi Sanchiz" userId="ade4f707-3308-4888-b575-5e32ac6efcc8" providerId="ADAL" clId="{D38BBDC4-9196-4534-BB5D-436C5F6D8958}" dt="2024-02-27T17:57:27.016" v="835" actId="571"/>
          <ac:spMkLst>
            <pc:docMk/>
            <pc:sldMk cId="3188771852" sldId="2147480890"/>
            <ac:spMk id="139" creationId="{20D05A44-C6CC-23B3-D0BA-FE310C233D64}"/>
          </ac:spMkLst>
        </pc:spChg>
        <pc:spChg chg="mod">
          <ac:chgData name="Ana Blasi Sanchiz" userId="ade4f707-3308-4888-b575-5e32ac6efcc8" providerId="ADAL" clId="{D38BBDC4-9196-4534-BB5D-436C5F6D8958}" dt="2024-02-27T17:57:27.016" v="835" actId="571"/>
          <ac:spMkLst>
            <pc:docMk/>
            <pc:sldMk cId="3188771852" sldId="2147480890"/>
            <ac:spMk id="140" creationId="{03969CDF-CBDA-C5EB-06CB-AC5833535DC2}"/>
          </ac:spMkLst>
        </pc:spChg>
        <pc:spChg chg="mod">
          <ac:chgData name="Ana Blasi Sanchiz" userId="ade4f707-3308-4888-b575-5e32ac6efcc8" providerId="ADAL" clId="{D38BBDC4-9196-4534-BB5D-436C5F6D8958}" dt="2024-02-27T17:57:27.016" v="835" actId="571"/>
          <ac:spMkLst>
            <pc:docMk/>
            <pc:sldMk cId="3188771852" sldId="2147480890"/>
            <ac:spMk id="141" creationId="{D67465EA-021A-0F1F-A829-E30003CA5D3C}"/>
          </ac:spMkLst>
        </pc:spChg>
        <pc:spChg chg="mod">
          <ac:chgData name="Ana Blasi Sanchiz" userId="ade4f707-3308-4888-b575-5e32ac6efcc8" providerId="ADAL" clId="{D38BBDC4-9196-4534-BB5D-436C5F6D8958}" dt="2024-02-27T17:57:27.016" v="835" actId="571"/>
          <ac:spMkLst>
            <pc:docMk/>
            <pc:sldMk cId="3188771852" sldId="2147480890"/>
            <ac:spMk id="142" creationId="{F95D54EF-516C-E514-FF58-0CB3AA7EFE68}"/>
          </ac:spMkLst>
        </pc:spChg>
        <pc:spChg chg="mod">
          <ac:chgData name="Ana Blasi Sanchiz" userId="ade4f707-3308-4888-b575-5e32ac6efcc8" providerId="ADAL" clId="{D38BBDC4-9196-4534-BB5D-436C5F6D8958}" dt="2024-02-27T17:57:27.016" v="835" actId="571"/>
          <ac:spMkLst>
            <pc:docMk/>
            <pc:sldMk cId="3188771852" sldId="2147480890"/>
            <ac:spMk id="143" creationId="{29465187-8F5B-4884-4957-5689588C77B6}"/>
          </ac:spMkLst>
        </pc:spChg>
        <pc:spChg chg="mod">
          <ac:chgData name="Ana Blasi Sanchiz" userId="ade4f707-3308-4888-b575-5e32ac6efcc8" providerId="ADAL" clId="{D38BBDC4-9196-4534-BB5D-436C5F6D8958}" dt="2024-02-27T17:57:27.016" v="835" actId="571"/>
          <ac:spMkLst>
            <pc:docMk/>
            <pc:sldMk cId="3188771852" sldId="2147480890"/>
            <ac:spMk id="144" creationId="{75B39AC7-EB7E-CC7D-7043-9609B1A85A51}"/>
          </ac:spMkLst>
        </pc:spChg>
        <pc:spChg chg="add mod ord">
          <ac:chgData name="Ana Blasi Sanchiz" userId="ade4f707-3308-4888-b575-5e32ac6efcc8" providerId="ADAL" clId="{D38BBDC4-9196-4534-BB5D-436C5F6D8958}" dt="2024-02-27T18:12:39.061" v="940" actId="167"/>
          <ac:spMkLst>
            <pc:docMk/>
            <pc:sldMk cId="3188771852" sldId="2147480890"/>
            <ac:spMk id="145" creationId="{5854AB1F-222B-CBC8-C02F-05C99236313E}"/>
          </ac:spMkLst>
        </pc:spChg>
        <pc:spChg chg="add mod ord">
          <ac:chgData name="Ana Blasi Sanchiz" userId="ade4f707-3308-4888-b575-5e32ac6efcc8" providerId="ADAL" clId="{D38BBDC4-9196-4534-BB5D-436C5F6D8958}" dt="2024-02-28T16:05:44.522" v="1070" actId="207"/>
          <ac:spMkLst>
            <pc:docMk/>
            <pc:sldMk cId="3188771852" sldId="2147480890"/>
            <ac:spMk id="146" creationId="{FC165E9B-31FD-11FF-C733-B9D6BDC0BE5B}"/>
          </ac:spMkLst>
        </pc:spChg>
        <pc:grpChg chg="add mod">
          <ac:chgData name="Ana Blasi Sanchiz" userId="ade4f707-3308-4888-b575-5e32ac6efcc8" providerId="ADAL" clId="{D38BBDC4-9196-4534-BB5D-436C5F6D8958}" dt="2024-02-27T17:57:25.622" v="833" actId="1076"/>
          <ac:grpSpMkLst>
            <pc:docMk/>
            <pc:sldMk cId="3188771852" sldId="2147480890"/>
            <ac:grpSpMk id="7" creationId="{7406761E-3AAB-6784-6E24-D005D5E70E62}"/>
          </ac:grpSpMkLst>
        </pc:grpChg>
        <pc:grpChg chg="add mod">
          <ac:chgData name="Ana Blasi Sanchiz" userId="ade4f707-3308-4888-b575-5e32ac6efcc8" providerId="ADAL" clId="{D38BBDC4-9196-4534-BB5D-436C5F6D8958}" dt="2024-02-27T17:57:22.251" v="832"/>
          <ac:grpSpMkLst>
            <pc:docMk/>
            <pc:sldMk cId="3188771852" sldId="2147480890"/>
            <ac:grpSpMk id="74" creationId="{CC9E940B-0BF4-58C4-DB05-C5F264C4C531}"/>
          </ac:grpSpMkLst>
        </pc:grpChg>
        <pc:grpChg chg="add mod">
          <ac:chgData name="Ana Blasi Sanchiz" userId="ade4f707-3308-4888-b575-5e32ac6efcc8" providerId="ADAL" clId="{D38BBDC4-9196-4534-BB5D-436C5F6D8958}" dt="2024-02-27T17:57:27.016" v="835" actId="571"/>
          <ac:grpSpMkLst>
            <pc:docMk/>
            <pc:sldMk cId="3188771852" sldId="2147480890"/>
            <ac:grpSpMk id="78" creationId="{194D9BB6-56C7-2279-A960-43D50F68F300}"/>
          </ac:grpSpMkLst>
        </pc:grpChg>
        <pc:picChg chg="add del mod ord">
          <ac:chgData name="Ana Blasi Sanchiz" userId="ade4f707-3308-4888-b575-5e32ac6efcc8" providerId="ADAL" clId="{D38BBDC4-9196-4534-BB5D-436C5F6D8958}" dt="2024-02-27T18:00:03.788" v="862" actId="478"/>
          <ac:picMkLst>
            <pc:docMk/>
            <pc:sldMk cId="3188771852" sldId="2147480890"/>
            <ac:picMk id="6" creationId="{F15DBCFB-930A-AF12-EED0-35EDFD1381DE}"/>
          </ac:picMkLst>
        </pc:picChg>
        <pc:picChg chg="add mod ord">
          <ac:chgData name="Ana Blasi Sanchiz" userId="ade4f707-3308-4888-b575-5e32ac6efcc8" providerId="ADAL" clId="{D38BBDC4-9196-4534-BB5D-436C5F6D8958}" dt="2024-02-27T18:07:10.285" v="895" actId="167"/>
          <ac:picMkLst>
            <pc:docMk/>
            <pc:sldMk cId="3188771852" sldId="2147480890"/>
            <ac:picMk id="77" creationId="{37C8D8FD-0D81-E137-BC4B-16512541F2DC}"/>
          </ac:picMkLst>
        </pc:picChg>
      </pc:sldChg>
      <pc:sldChg chg="add modNotesTx">
        <pc:chgData name="Ana Blasi Sanchiz" userId="ade4f707-3308-4888-b575-5e32ac6efcc8" providerId="ADAL" clId="{D38BBDC4-9196-4534-BB5D-436C5F6D8958}" dt="2024-02-26T19:36:40.666" v="798" actId="20577"/>
        <pc:sldMkLst>
          <pc:docMk/>
          <pc:sldMk cId="2407218229" sldId="2147480891"/>
        </pc:sldMkLst>
      </pc:sldChg>
      <pc:sldChg chg="addSp delSp modSp new mod">
        <pc:chgData name="Ana Blasi Sanchiz" userId="ade4f707-3308-4888-b575-5e32ac6efcc8" providerId="ADAL" clId="{D38BBDC4-9196-4534-BB5D-436C5F6D8958}" dt="2024-02-28T16:05:52.648" v="1071" actId="207"/>
        <pc:sldMkLst>
          <pc:docMk/>
          <pc:sldMk cId="779310950" sldId="2147480892"/>
        </pc:sldMkLst>
        <pc:spChg chg="add del ord">
          <ac:chgData name="Ana Blasi Sanchiz" userId="ade4f707-3308-4888-b575-5e32ac6efcc8" providerId="ADAL" clId="{D38BBDC4-9196-4534-BB5D-436C5F6D8958}" dt="2024-02-27T18:05:24.679" v="879" actId="931"/>
          <ac:spMkLst>
            <pc:docMk/>
            <pc:sldMk cId="779310950" sldId="2147480892"/>
            <ac:spMk id="2" creationId="{41A8DD30-B8F6-55FB-B48E-540B31E8F39A}"/>
          </ac:spMkLst>
        </pc:spChg>
        <pc:spChg chg="mod">
          <ac:chgData name="Ana Blasi Sanchiz" userId="ade4f707-3308-4888-b575-5e32ac6efcc8" providerId="ADAL" clId="{D38BBDC4-9196-4534-BB5D-436C5F6D8958}" dt="2024-02-27T18:07:16.222" v="896"/>
          <ac:spMkLst>
            <pc:docMk/>
            <pc:sldMk cId="779310950" sldId="2147480892"/>
            <ac:spMk id="3" creationId="{FE38577E-04CC-4598-C049-4EAB5340898B}"/>
          </ac:spMkLst>
        </pc:spChg>
        <pc:spChg chg="mod">
          <ac:chgData name="Ana Blasi Sanchiz" userId="ade4f707-3308-4888-b575-5e32ac6efcc8" providerId="ADAL" clId="{D38BBDC4-9196-4534-BB5D-436C5F6D8958}" dt="2024-02-27T18:07:22.733" v="899"/>
          <ac:spMkLst>
            <pc:docMk/>
            <pc:sldMk cId="779310950" sldId="2147480892"/>
            <ac:spMk id="4" creationId="{B8108E24-501C-456F-5474-B5A3F73362EC}"/>
          </ac:spMkLst>
        </pc:spChg>
        <pc:spChg chg="add mod ord">
          <ac:chgData name="Ana Blasi Sanchiz" userId="ade4f707-3308-4888-b575-5e32ac6efcc8" providerId="ADAL" clId="{D38BBDC4-9196-4534-BB5D-436C5F6D8958}" dt="2024-02-27T17:59:57.934" v="861" actId="1076"/>
          <ac:spMkLst>
            <pc:docMk/>
            <pc:sldMk cId="779310950" sldId="2147480892"/>
            <ac:spMk id="8" creationId="{086425A1-75AC-E0A1-3B20-EC7F2CDFA5FE}"/>
          </ac:spMkLst>
        </pc:spChg>
        <pc:spChg chg="mod">
          <ac:chgData name="Ana Blasi Sanchiz" userId="ade4f707-3308-4888-b575-5e32ac6efcc8" providerId="ADAL" clId="{D38BBDC4-9196-4534-BB5D-436C5F6D8958}" dt="2024-02-27T17:59:36.374" v="857"/>
          <ac:spMkLst>
            <pc:docMk/>
            <pc:sldMk cId="779310950" sldId="2147480892"/>
            <ac:spMk id="10" creationId="{9E3C82EF-E46D-EAB2-2137-2F419EF079AF}"/>
          </ac:spMkLst>
        </pc:spChg>
        <pc:spChg chg="mod">
          <ac:chgData name="Ana Blasi Sanchiz" userId="ade4f707-3308-4888-b575-5e32ac6efcc8" providerId="ADAL" clId="{D38BBDC4-9196-4534-BB5D-436C5F6D8958}" dt="2024-02-27T17:59:36.374" v="857"/>
          <ac:spMkLst>
            <pc:docMk/>
            <pc:sldMk cId="779310950" sldId="2147480892"/>
            <ac:spMk id="11" creationId="{007C4D1C-44D9-B77C-3941-5C6C539359C5}"/>
          </ac:spMkLst>
        </pc:spChg>
        <pc:spChg chg="add mod ord">
          <ac:chgData name="Ana Blasi Sanchiz" userId="ade4f707-3308-4888-b575-5e32ac6efcc8" providerId="ADAL" clId="{D38BBDC4-9196-4534-BB5D-436C5F6D8958}" dt="2024-02-27T18:13:08.265" v="945" actId="167"/>
          <ac:spMkLst>
            <pc:docMk/>
            <pc:sldMk cId="779310950" sldId="2147480892"/>
            <ac:spMk id="15" creationId="{96170472-837C-588E-142F-538AA9FB1FED}"/>
          </ac:spMkLst>
        </pc:spChg>
        <pc:spChg chg="add mod ord">
          <ac:chgData name="Ana Blasi Sanchiz" userId="ade4f707-3308-4888-b575-5e32ac6efcc8" providerId="ADAL" clId="{D38BBDC4-9196-4534-BB5D-436C5F6D8958}" dt="2024-02-28T16:05:52.648" v="1071" actId="207"/>
          <ac:spMkLst>
            <pc:docMk/>
            <pc:sldMk cId="779310950" sldId="2147480892"/>
            <ac:spMk id="16" creationId="{E9326BCC-F95B-1751-6006-7A9D56B44C60}"/>
          </ac:spMkLst>
        </pc:spChg>
        <pc:grpChg chg="add mod">
          <ac:chgData name="Ana Blasi Sanchiz" userId="ade4f707-3308-4888-b575-5e32ac6efcc8" providerId="ADAL" clId="{D38BBDC4-9196-4534-BB5D-436C5F6D8958}" dt="2024-02-27T17:59:36.374" v="857"/>
          <ac:grpSpMkLst>
            <pc:docMk/>
            <pc:sldMk cId="779310950" sldId="2147480892"/>
            <ac:grpSpMk id="9" creationId="{2987C761-AD21-355C-B345-D3E78DE10B86}"/>
          </ac:grpSpMkLst>
        </pc:grpChg>
        <pc:picChg chg="add del mod">
          <ac:chgData name="Ana Blasi Sanchiz" userId="ade4f707-3308-4888-b575-5e32ac6efcc8" providerId="ADAL" clId="{D38BBDC4-9196-4534-BB5D-436C5F6D8958}" dt="2024-02-27T17:55:20.897" v="818" actId="931"/>
          <ac:picMkLst>
            <pc:docMk/>
            <pc:sldMk cId="779310950" sldId="2147480892"/>
            <ac:picMk id="7" creationId="{F2598A7D-114D-5940-21EE-2CC56444CC9D}"/>
          </ac:picMkLst>
        </pc:picChg>
        <pc:picChg chg="add del mod">
          <ac:chgData name="Ana Blasi Sanchiz" userId="ade4f707-3308-4888-b575-5e32ac6efcc8" providerId="ADAL" clId="{D38BBDC4-9196-4534-BB5D-436C5F6D8958}" dt="2024-02-27T18:06:48.450" v="883" actId="478"/>
          <ac:picMkLst>
            <pc:docMk/>
            <pc:sldMk cId="779310950" sldId="2147480892"/>
            <ac:picMk id="13" creationId="{AADE7C79-29D7-A1B0-3F5C-82C35734AEAC}"/>
          </ac:picMkLst>
        </pc:picChg>
      </pc:sldChg>
      <pc:sldChg chg="addSp delSp modSp new del mod">
        <pc:chgData name="Ana Blasi Sanchiz" userId="ade4f707-3308-4888-b575-5e32ac6efcc8" providerId="ADAL" clId="{D38BBDC4-9196-4534-BB5D-436C5F6D8958}" dt="2024-02-27T17:55:08.669" v="815" actId="47"/>
        <pc:sldMkLst>
          <pc:docMk/>
          <pc:sldMk cId="1623108448" sldId="2147480892"/>
        </pc:sldMkLst>
        <pc:spChg chg="del">
          <ac:chgData name="Ana Blasi Sanchiz" userId="ade4f707-3308-4888-b575-5e32ac6efcc8" providerId="ADAL" clId="{D38BBDC4-9196-4534-BB5D-436C5F6D8958}" dt="2024-02-27T17:53:59.395" v="807" actId="931"/>
          <ac:spMkLst>
            <pc:docMk/>
            <pc:sldMk cId="1623108448" sldId="2147480892"/>
            <ac:spMk id="2" creationId="{D5EB52DE-6032-139F-3568-CDBD2CA5431C}"/>
          </ac:spMkLst>
        </pc:spChg>
        <pc:spChg chg="add mod ord">
          <ac:chgData name="Ana Blasi Sanchiz" userId="ade4f707-3308-4888-b575-5e32ac6efcc8" providerId="ADAL" clId="{D38BBDC4-9196-4534-BB5D-436C5F6D8958}" dt="2024-02-27T17:54:08.982" v="811" actId="1076"/>
          <ac:spMkLst>
            <pc:docMk/>
            <pc:sldMk cId="1623108448" sldId="2147480892"/>
            <ac:spMk id="9" creationId="{38B9A5AC-B6C6-7879-B8A7-6B75D8F5E31C}"/>
          </ac:spMkLst>
        </pc:spChg>
        <pc:picChg chg="add del mod">
          <ac:chgData name="Ana Blasi Sanchiz" userId="ade4f707-3308-4888-b575-5e32ac6efcc8" providerId="ADAL" clId="{D38BBDC4-9196-4534-BB5D-436C5F6D8958}" dt="2024-02-27T17:54:01.404" v="808" actId="478"/>
          <ac:picMkLst>
            <pc:docMk/>
            <pc:sldMk cId="1623108448" sldId="2147480892"/>
            <ac:picMk id="7" creationId="{FEEFED3A-4D0A-F6D4-4DDA-507FF5AD13E7}"/>
          </ac:picMkLst>
        </pc:picChg>
      </pc:sldChg>
      <pc:sldChg chg="add ord modNotesTx">
        <pc:chgData name="Ana Blasi Sanchiz" userId="ade4f707-3308-4888-b575-5e32ac6efcc8" providerId="ADAL" clId="{D38BBDC4-9196-4534-BB5D-436C5F6D8958}" dt="2024-02-27T18:20:37.228" v="976" actId="20577"/>
        <pc:sldMkLst>
          <pc:docMk/>
          <pc:sldMk cId="2388798320" sldId="2147480893"/>
        </pc:sldMkLst>
      </pc:sldChg>
      <pc:sldChg chg="addSp delSp modSp add mod ord modNotesTx">
        <pc:chgData name="Ana Blasi Sanchiz" userId="ade4f707-3308-4888-b575-5e32ac6efcc8" providerId="ADAL" clId="{D38BBDC4-9196-4534-BB5D-436C5F6D8958}" dt="2024-02-27T18:35:32.827" v="985" actId="20577"/>
        <pc:sldMkLst>
          <pc:docMk/>
          <pc:sldMk cId="950812779" sldId="2147480894"/>
        </pc:sldMkLst>
        <pc:spChg chg="mod">
          <ac:chgData name="Ana Blasi Sanchiz" userId="ade4f707-3308-4888-b575-5e32ac6efcc8" providerId="ADAL" clId="{D38BBDC4-9196-4534-BB5D-436C5F6D8958}" dt="2024-02-27T18:35:32.827" v="985" actId="20577"/>
          <ac:spMkLst>
            <pc:docMk/>
            <pc:sldMk cId="950812779" sldId="2147480894"/>
            <ac:spMk id="5" creationId="{0988F40D-85EB-7ABC-4A18-68D2DE4339D4}"/>
          </ac:spMkLst>
        </pc:spChg>
        <pc:spChg chg="add del">
          <ac:chgData name="Ana Blasi Sanchiz" userId="ade4f707-3308-4888-b575-5e32ac6efcc8" providerId="ADAL" clId="{D38BBDC4-9196-4534-BB5D-436C5F6D8958}" dt="2024-02-27T18:20:26.457" v="965" actId="22"/>
          <ac:spMkLst>
            <pc:docMk/>
            <pc:sldMk cId="950812779" sldId="2147480894"/>
            <ac:spMk id="9" creationId="{B7FE0C9A-E3A1-25DF-3288-196342D55A0C}"/>
          </ac:spMkLst>
        </pc:spChg>
      </pc:sldChg>
      <pc:sldChg chg="modSp new mod">
        <pc:chgData name="Ana Blasi Sanchiz" userId="ade4f707-3308-4888-b575-5e32ac6efcc8" providerId="ADAL" clId="{D38BBDC4-9196-4534-BB5D-436C5F6D8958}" dt="2024-02-28T16:17:07.167" v="1122" actId="20577"/>
        <pc:sldMkLst>
          <pc:docMk/>
          <pc:sldMk cId="1862402494" sldId="2147480895"/>
        </pc:sldMkLst>
        <pc:spChg chg="mod">
          <ac:chgData name="Ana Blasi Sanchiz" userId="ade4f707-3308-4888-b575-5e32ac6efcc8" providerId="ADAL" clId="{D38BBDC4-9196-4534-BB5D-436C5F6D8958}" dt="2024-02-28T16:17:07.167" v="1122" actId="20577"/>
          <ac:spMkLst>
            <pc:docMk/>
            <pc:sldMk cId="1862402494" sldId="2147480895"/>
            <ac:spMk id="2" creationId="{3472B679-54D6-1491-946B-61F45A08869C}"/>
          </ac:spMkLst>
        </pc:spChg>
      </pc:sldChg>
      <pc:sldMasterChg chg="addSldLayout delSldLayout modSldLayout sldLayoutOrd">
        <pc:chgData name="Ana Blasi Sanchiz" userId="ade4f707-3308-4888-b575-5e32ac6efcc8" providerId="ADAL" clId="{D38BBDC4-9196-4534-BB5D-436C5F6D8958}" dt="2024-02-28T16:16:45.310" v="1118" actId="14100"/>
        <pc:sldMasterMkLst>
          <pc:docMk/>
          <pc:sldMasterMk cId="2201614670" sldId="2147483659"/>
        </pc:sldMasterMkLst>
        <pc:sldLayoutChg chg="addSp delSp modSp mod">
          <pc:chgData name="Ana Blasi Sanchiz" userId="ade4f707-3308-4888-b575-5e32ac6efcc8" providerId="ADAL" clId="{D38BBDC4-9196-4534-BB5D-436C5F6D8958}" dt="2024-02-27T18:12:05.002" v="936" actId="255"/>
          <pc:sldLayoutMkLst>
            <pc:docMk/>
            <pc:sldMasterMk cId="2201614670" sldId="2147483659"/>
            <pc:sldLayoutMk cId="179175482" sldId="2147483660"/>
          </pc:sldLayoutMkLst>
          <pc:spChg chg="mod ord">
            <ac:chgData name="Ana Blasi Sanchiz" userId="ade4f707-3308-4888-b575-5e32ac6efcc8" providerId="ADAL" clId="{D38BBDC4-9196-4534-BB5D-436C5F6D8958}" dt="2024-02-27T18:12:05.002" v="936" actId="255"/>
            <ac:spMkLst>
              <pc:docMk/>
              <pc:sldMasterMk cId="2201614670" sldId="2147483659"/>
              <pc:sldLayoutMk cId="179175482" sldId="2147483660"/>
              <ac:spMk id="3" creationId="{B3031123-D918-B647-4200-5C18335DBDBD}"/>
            </ac:spMkLst>
          </pc:spChg>
          <pc:spChg chg="add del mod">
            <ac:chgData name="Ana Blasi Sanchiz" userId="ade4f707-3308-4888-b575-5e32ac6efcc8" providerId="ADAL" clId="{D38BBDC4-9196-4534-BB5D-436C5F6D8958}" dt="2024-02-27T17:59:31.678" v="856" actId="478"/>
            <ac:spMkLst>
              <pc:docMk/>
              <pc:sldMasterMk cId="2201614670" sldId="2147483659"/>
              <pc:sldLayoutMk cId="179175482" sldId="2147483660"/>
              <ac:spMk id="16" creationId="{13A7AC18-CF42-4EC5-8D40-441EAE30A06C}"/>
            </ac:spMkLst>
          </pc:spChg>
          <pc:grpChg chg="add del">
            <ac:chgData name="Ana Blasi Sanchiz" userId="ade4f707-3308-4888-b575-5e32ac6efcc8" providerId="ADAL" clId="{D38BBDC4-9196-4534-BB5D-436C5F6D8958}" dt="2024-02-27T17:59:31.678" v="856" actId="478"/>
            <ac:grpSpMkLst>
              <pc:docMk/>
              <pc:sldMasterMk cId="2201614670" sldId="2147483659"/>
              <pc:sldLayoutMk cId="179175482" sldId="2147483660"/>
              <ac:grpSpMk id="14" creationId="{C8422AE9-8257-41A9-AB41-1F10585C886F}"/>
            </ac:grpSpMkLst>
          </pc:grpChg>
        </pc:sldLayoutChg>
        <pc:sldLayoutChg chg="addSp delSp modSp mod ord">
          <pc:chgData name="Ana Blasi Sanchiz" userId="ade4f707-3308-4888-b575-5e32ac6efcc8" providerId="ADAL" clId="{D38BBDC4-9196-4534-BB5D-436C5F6D8958}" dt="2024-02-27T18:11:52.027" v="930" actId="404"/>
          <pc:sldLayoutMkLst>
            <pc:docMk/>
            <pc:sldMasterMk cId="2201614670" sldId="2147483659"/>
            <pc:sldLayoutMk cId="2925781567" sldId="2147483662"/>
          </pc:sldLayoutMkLst>
          <pc:spChg chg="del mod ord">
            <ac:chgData name="Ana Blasi Sanchiz" userId="ade4f707-3308-4888-b575-5e32ac6efcc8" providerId="ADAL" clId="{D38BBDC4-9196-4534-BB5D-436C5F6D8958}" dt="2024-02-27T17:57:11" v="831" actId="478"/>
            <ac:spMkLst>
              <pc:docMk/>
              <pc:sldMasterMk cId="2201614670" sldId="2147483659"/>
              <pc:sldLayoutMk cId="2925781567" sldId="2147483662"/>
              <ac:spMk id="2" creationId="{02BAD95F-953B-0210-3262-1B2CD82A8592}"/>
            </ac:spMkLst>
          </pc:spChg>
          <pc:spChg chg="add mod ord">
            <ac:chgData name="Ana Blasi Sanchiz" userId="ade4f707-3308-4888-b575-5e32ac6efcc8" providerId="ADAL" clId="{D38BBDC4-9196-4534-BB5D-436C5F6D8958}" dt="2024-02-27T18:11:52.027" v="930" actId="404"/>
            <ac:spMkLst>
              <pc:docMk/>
              <pc:sldMasterMk cId="2201614670" sldId="2147483659"/>
              <pc:sldLayoutMk cId="2925781567" sldId="2147483662"/>
              <ac:spMk id="4" creationId="{F486A345-0B8D-C3B5-12AC-1FEC73BC5476}"/>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6" creationId="{987C666B-606B-6DE3-12D2-6438DC70D840}"/>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7" creationId="{D53DE0BC-5E2B-4DC8-0CB9-EC806312555B}"/>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8" creationId="{ED633E27-BD1C-8A4B-8C92-49210BDC0CA1}"/>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9" creationId="{7FF4DFF4-F242-BD74-824D-DD6F8100353C}"/>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10" creationId="{9D82F2E1-0E94-1D5A-79BD-9214FE847106}"/>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11" creationId="{9D650FEB-257C-B4D3-2042-A25AF565849F}"/>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12" creationId="{77F86A0C-BEA9-9472-0E3E-CF08878B7EF5}"/>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13" creationId="{E3DE88AB-EF2F-E342-F0CF-51EDB2EC5454}"/>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14" creationId="{70505915-8850-4F6C-9869-1AA5D39E1BCB}"/>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15" creationId="{F140A32C-A39D-0E56-573B-D644D7DA92A4}"/>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16" creationId="{89083C93-E9D5-1638-AF30-2C9FDAF98954}"/>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17" creationId="{C0479184-320C-F2D9-D600-29DAD574639F}"/>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18" creationId="{3F6A1BB4-B54D-2B97-DB8D-DA443997C1D9}"/>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19" creationId="{185B1C57-2307-42A1-69BC-D9AAE30EEA77}"/>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0" creationId="{6B25B2F1-5631-9EE7-2B0C-FA20BB2C11DC}"/>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1" creationId="{92029814-36CC-C7FC-B118-6036F70DE1BA}"/>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2" creationId="{E6390EB0-4791-9B9C-AEC1-CF2C45C8F41B}"/>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3" creationId="{44F07D77-269F-63A3-1329-992DF36F4675}"/>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4" creationId="{32A86E45-003B-1216-2D0E-1026894B1D32}"/>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5" creationId="{31BD0C8D-EF1E-D8BA-854D-75D8B682A074}"/>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6" creationId="{BEFD0447-E31E-2982-B896-0C791D24D739}"/>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7" creationId="{00844241-CE15-8D41-4D0F-F9E19256E9E9}"/>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8" creationId="{A84E270C-86C0-D7D2-A54E-1FBD0562B285}"/>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9" creationId="{832C45CC-37E3-4FF2-6E3B-7CC73406DD7E}"/>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30" creationId="{5B00A0DF-BE9A-D0C9-A495-5DC1267EDA41}"/>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31" creationId="{13635AEC-AF92-5DA5-714A-AA5250A51229}"/>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64" creationId="{A1065BD6-BF01-D946-80D3-FFD05AFE6B2E}"/>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65" creationId="{7511B267-D852-FC1C-4AC6-5B36BFD88BFF}"/>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66" creationId="{274A514F-DC0D-8A7E-474B-FDE628D1AC4C}"/>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67" creationId="{AF9EE8F3-0F0D-3D4E-5B40-45AC1E99C9ED}"/>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68" creationId="{D58B8136-D14D-587F-C9C1-24D19BA26E76}"/>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69" creationId="{5E9B37F2-BC20-2B18-8F38-2ACAF41868E1}"/>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70" creationId="{E2D7774E-1720-408F-0BEE-D824B4B7C527}"/>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53" creationId="{7C0DC9CE-4628-5A46-DEB4-DBCD531A4C58}"/>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54" creationId="{1A7C74B9-BDC2-6A94-669C-3017DBDF7C2D}"/>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55" creationId="{3BF738CE-8FA5-088D-6227-D9F0CDE9A32F}"/>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56" creationId="{1A28E9FC-0EDB-66D3-F2FE-5661DD49B459}"/>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57" creationId="{8480BF73-CCC0-5DA2-2806-0585D19D8937}"/>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58" creationId="{A4D759E6-5404-C64D-5268-91C5A263654F}"/>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59" creationId="{66BB48D7-E991-0FFE-5AC6-05ECDE96D1C6}"/>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60" creationId="{20D473B0-5FD8-CDD5-95B3-51E6E56BE197}"/>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61" creationId="{B2B55D72-3E82-4F39-39B3-23F11DDE47C3}"/>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62" creationId="{37EA2408-73D0-EE48-A909-13179411B473}"/>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65" creationId="{B8F40B60-16BD-7A54-1C48-F1EC95255FFE}"/>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66" creationId="{57B411AE-27C2-B2B7-157B-AD844B817996}"/>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67" creationId="{67CAE3EE-7F9C-40F6-08AB-632658E01197}"/>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68" creationId="{D1CC48B8-8A32-D00C-9C5C-1A8907C0519D}"/>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69" creationId="{2BB8CF29-B4A7-2716-6746-AFAA929EC608}"/>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70" creationId="{E7501F7A-5FFD-C087-9047-A8667F7E41D5}"/>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71" creationId="{8A8AB3BA-5C42-C9EF-A28B-03A6886F0175}"/>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72" creationId="{FC1E8157-B4EA-3E27-3C71-A61C3A861C96}"/>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73" creationId="{58C6F44F-64C8-07BF-CDC6-AE21F2F75132}"/>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74" creationId="{0D61D838-8AA7-FEA4-900F-C55CAEAAD4C6}"/>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75" creationId="{D92D08A1-DF12-0892-D73E-F3607E14F95D}"/>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76" creationId="{B68D7CB6-F98C-BBC6-2C13-A36277BCF16E}"/>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77" creationId="{DAB742FA-BE75-9A06-E67A-ECD2FBCD8FBD}"/>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78" creationId="{1E500EF9-3940-F1F3-C89C-CEEDC00DFD11}"/>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79" creationId="{37E5D913-6F4C-69CE-42B5-7960869CF5E5}"/>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80" creationId="{A04506A7-7E85-7F36-F171-874A57FB1341}"/>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81" creationId="{D15D4966-8016-314C-15A8-94D2874AEE00}"/>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82" creationId="{76612E0A-12AD-3EA8-BC44-EA479D12BE58}"/>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83" creationId="{740B5A3F-A947-84F1-95FE-DDD71714187F}"/>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84" creationId="{0F3670C9-9266-C5CA-DED3-B7BA6C071A9F}"/>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85" creationId="{30A36AD1-9BE4-0384-4CBD-15D65A228CCE}"/>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86" creationId="{B7113486-605C-117A-AE5D-6962C3FD6F6A}"/>
            </ac:spMkLst>
          </pc:spChg>
          <pc:spChg chg="mod">
            <ac:chgData name="Ana Blasi Sanchiz" userId="ade4f707-3308-4888-b575-5e32ac6efcc8" providerId="ADAL" clId="{D38BBDC4-9196-4534-BB5D-436C5F6D8958}" dt="2024-02-27T18:01:02.050" v="867" actId="1076"/>
            <ac:spMkLst>
              <pc:docMk/>
              <pc:sldMasterMk cId="2201614670" sldId="2147483659"/>
              <pc:sldLayoutMk cId="2925781567" sldId="2147483662"/>
              <ac:spMk id="287" creationId="{7345E7CE-4F56-F5D1-C1A8-0D079CD884C7}"/>
            </ac:spMkLst>
          </pc:spChg>
          <pc:grpChg chg="add del mod">
            <ac:chgData name="Ana Blasi Sanchiz" userId="ade4f707-3308-4888-b575-5e32ac6efcc8" providerId="ADAL" clId="{D38BBDC4-9196-4534-BB5D-436C5F6D8958}" dt="2024-02-27T18:01:11.508" v="869" actId="478"/>
            <ac:grpSpMkLst>
              <pc:docMk/>
              <pc:sldMasterMk cId="2201614670" sldId="2147483659"/>
              <pc:sldLayoutMk cId="2925781567" sldId="2147483662"/>
              <ac:grpSpMk id="5" creationId="{CF06B914-D1DC-A45F-6E5E-01A97529CEC3}"/>
            </ac:grpSpMkLst>
          </pc:grpChg>
          <pc:grpChg chg="del">
            <ac:chgData name="Ana Blasi Sanchiz" userId="ade4f707-3308-4888-b575-5e32ac6efcc8" providerId="ADAL" clId="{D38BBDC4-9196-4534-BB5D-436C5F6D8958}" dt="2024-02-27T18:01:11.508" v="869" actId="478"/>
            <ac:grpSpMkLst>
              <pc:docMk/>
              <pc:sldMasterMk cId="2201614670" sldId="2147483659"/>
              <pc:sldLayoutMk cId="2925781567" sldId="2147483662"/>
              <ac:grpSpMk id="82" creationId="{A63454B3-EB4E-450A-98AA-6B5943D89732}"/>
            </ac:grpSpMkLst>
          </pc:grpChg>
          <pc:grpChg chg="del">
            <ac:chgData name="Ana Blasi Sanchiz" userId="ade4f707-3308-4888-b575-5e32ac6efcc8" providerId="ADAL" clId="{D38BBDC4-9196-4534-BB5D-436C5F6D8958}" dt="2024-02-27T18:01:14.347" v="870" actId="478"/>
            <ac:grpSpMkLst>
              <pc:docMk/>
              <pc:sldMasterMk cId="2201614670" sldId="2147483659"/>
              <pc:sldLayoutMk cId="2925781567" sldId="2147483662"/>
              <ac:grpSpMk id="186" creationId="{9CDE954B-B280-441B-9B2D-3DC58AAE3926}"/>
            </ac:grpSpMkLst>
          </pc:grpChg>
          <pc:picChg chg="add del mod">
            <ac:chgData name="Ana Blasi Sanchiz" userId="ade4f707-3308-4888-b575-5e32ac6efcc8" providerId="ADAL" clId="{D38BBDC4-9196-4534-BB5D-436C5F6D8958}" dt="2024-02-27T18:01:11.508" v="869" actId="478"/>
            <ac:picMkLst>
              <pc:docMk/>
              <pc:sldMasterMk cId="2201614670" sldId="2147483659"/>
              <pc:sldLayoutMk cId="2925781567" sldId="2147483662"/>
              <ac:picMk id="71" creationId="{7F588371-61E8-DA63-5692-06E58120D3C4}"/>
            </ac:picMkLst>
          </pc:picChg>
          <pc:picChg chg="del">
            <ac:chgData name="Ana Blasi Sanchiz" userId="ade4f707-3308-4888-b575-5e32ac6efcc8" providerId="ADAL" clId="{D38BBDC4-9196-4534-BB5D-436C5F6D8958}" dt="2024-02-27T18:01:16.063" v="871" actId="478"/>
            <ac:picMkLst>
              <pc:docMk/>
              <pc:sldMasterMk cId="2201614670" sldId="2147483659"/>
              <pc:sldLayoutMk cId="2925781567" sldId="2147483662"/>
              <ac:picMk id="85" creationId="{819BCB30-E1AA-4383-BEF0-0BE30C6425DE}"/>
            </ac:picMkLst>
          </pc:picChg>
        </pc:sldLayoutChg>
        <pc:sldLayoutChg chg="modSp">
          <pc:chgData name="Ana Blasi Sanchiz" userId="ade4f707-3308-4888-b575-5e32ac6efcc8" providerId="ADAL" clId="{D38BBDC4-9196-4534-BB5D-436C5F6D8958}" dt="2024-02-28T16:03:59.088" v="1065" actId="255"/>
          <pc:sldLayoutMkLst>
            <pc:docMk/>
            <pc:sldMasterMk cId="2201614670" sldId="2147483659"/>
            <pc:sldLayoutMk cId="4056174540" sldId="2147483669"/>
          </pc:sldLayoutMkLst>
          <pc:spChg chg="mod">
            <ac:chgData name="Ana Blasi Sanchiz" userId="ade4f707-3308-4888-b575-5e32ac6efcc8" providerId="ADAL" clId="{D38BBDC4-9196-4534-BB5D-436C5F6D8958}" dt="2024-02-28T16:03:59.088" v="1065" actId="255"/>
            <ac:spMkLst>
              <pc:docMk/>
              <pc:sldMasterMk cId="2201614670" sldId="2147483659"/>
              <pc:sldLayoutMk cId="4056174540" sldId="2147483669"/>
              <ac:spMk id="15" creationId="{628F8CDB-776D-4811-AE2C-217236ECDECA}"/>
            </ac:spMkLst>
          </pc:spChg>
        </pc:sldLayoutChg>
        <pc:sldLayoutChg chg="modSp mod">
          <pc:chgData name="Ana Blasi Sanchiz" userId="ade4f707-3308-4888-b575-5e32ac6efcc8" providerId="ADAL" clId="{D38BBDC4-9196-4534-BB5D-436C5F6D8958}" dt="2024-02-28T16:00:58.935" v="1061" actId="20577"/>
          <pc:sldLayoutMkLst>
            <pc:docMk/>
            <pc:sldMasterMk cId="2201614670" sldId="2147483659"/>
            <pc:sldLayoutMk cId="2869471690" sldId="2147483699"/>
          </pc:sldLayoutMkLst>
          <pc:spChg chg="mod">
            <ac:chgData name="Ana Blasi Sanchiz" userId="ade4f707-3308-4888-b575-5e32ac6efcc8" providerId="ADAL" clId="{D38BBDC4-9196-4534-BB5D-436C5F6D8958}" dt="2024-01-25T17:14:21.696" v="34" actId="1076"/>
            <ac:spMkLst>
              <pc:docMk/>
              <pc:sldMasterMk cId="2201614670" sldId="2147483659"/>
              <pc:sldLayoutMk cId="2869471690" sldId="2147483699"/>
              <ac:spMk id="2" creationId="{A46A8E8C-5761-F28A-70E5-8465796B1295}"/>
            </ac:spMkLst>
          </pc:spChg>
          <pc:spChg chg="mod">
            <ac:chgData name="Ana Blasi Sanchiz" userId="ade4f707-3308-4888-b575-5e32ac6efcc8" providerId="ADAL" clId="{D38BBDC4-9196-4534-BB5D-436C5F6D8958}" dt="2024-02-28T16:00:58.935" v="1061" actId="20577"/>
            <ac:spMkLst>
              <pc:docMk/>
              <pc:sldMasterMk cId="2201614670" sldId="2147483659"/>
              <pc:sldLayoutMk cId="2869471690" sldId="2147483699"/>
              <ac:spMk id="9" creationId="{B700BEB4-7359-09C6-8E2B-C08EC9427640}"/>
            </ac:spMkLst>
          </pc:spChg>
          <pc:spChg chg="mod">
            <ac:chgData name="Ana Blasi Sanchiz" userId="ade4f707-3308-4888-b575-5e32ac6efcc8" providerId="ADAL" clId="{D38BBDC4-9196-4534-BB5D-436C5F6D8958}" dt="2024-02-28T16:00:52.625" v="1058" actId="255"/>
            <ac:spMkLst>
              <pc:docMk/>
              <pc:sldMasterMk cId="2201614670" sldId="2147483659"/>
              <pc:sldLayoutMk cId="2869471690" sldId="2147483699"/>
              <ac:spMk id="10" creationId="{193094ED-F37F-9AD4-D291-D36BD9FD37C1}"/>
            </ac:spMkLst>
          </pc:spChg>
          <pc:cxnChg chg="mod">
            <ac:chgData name="Ana Blasi Sanchiz" userId="ade4f707-3308-4888-b575-5e32ac6efcc8" providerId="ADAL" clId="{D38BBDC4-9196-4534-BB5D-436C5F6D8958}" dt="2024-01-25T17:14:22.247" v="35" actId="1076"/>
            <ac:cxnSpMkLst>
              <pc:docMk/>
              <pc:sldMasterMk cId="2201614670" sldId="2147483659"/>
              <pc:sldLayoutMk cId="2869471690" sldId="2147483699"/>
              <ac:cxnSpMk id="6" creationId="{B72056B0-F7B4-0155-2001-F4B33370DFB0}"/>
            </ac:cxnSpMkLst>
          </pc:cxnChg>
        </pc:sldLayoutChg>
        <pc:sldLayoutChg chg="delSp modSp mod">
          <pc:chgData name="Ana Blasi Sanchiz" userId="ade4f707-3308-4888-b575-5e32ac6efcc8" providerId="ADAL" clId="{D38BBDC4-9196-4534-BB5D-436C5F6D8958}" dt="2024-02-28T16:16:45.310" v="1118" actId="14100"/>
          <pc:sldLayoutMkLst>
            <pc:docMk/>
            <pc:sldMasterMk cId="2201614670" sldId="2147483659"/>
            <pc:sldLayoutMk cId="2838222479" sldId="2147483701"/>
          </pc:sldLayoutMkLst>
          <pc:spChg chg="mod">
            <ac:chgData name="Ana Blasi Sanchiz" userId="ade4f707-3308-4888-b575-5e32ac6efcc8" providerId="ADAL" clId="{D38BBDC4-9196-4534-BB5D-436C5F6D8958}" dt="2024-02-28T16:09:43.079" v="1115" actId="1076"/>
            <ac:spMkLst>
              <pc:docMk/>
              <pc:sldMasterMk cId="2201614670" sldId="2147483659"/>
              <pc:sldLayoutMk cId="2838222479" sldId="2147483701"/>
              <ac:spMk id="8" creationId="{4E66C163-6E68-22EB-3F5A-560D5C1E5BF4}"/>
            </ac:spMkLst>
          </pc:spChg>
          <pc:spChg chg="mod">
            <ac:chgData name="Ana Blasi Sanchiz" userId="ade4f707-3308-4888-b575-5e32ac6efcc8" providerId="ADAL" clId="{D38BBDC4-9196-4534-BB5D-436C5F6D8958}" dt="2024-02-28T16:09:37.651" v="1112" actId="1076"/>
            <ac:spMkLst>
              <pc:docMk/>
              <pc:sldMasterMk cId="2201614670" sldId="2147483659"/>
              <pc:sldLayoutMk cId="2838222479" sldId="2147483701"/>
              <ac:spMk id="12" creationId="{84E85F55-5800-073D-5A26-C31562867662}"/>
            </ac:spMkLst>
          </pc:spChg>
          <pc:spChg chg="del mod">
            <ac:chgData name="Ana Blasi Sanchiz" userId="ade4f707-3308-4888-b575-5e32ac6efcc8" providerId="ADAL" clId="{D38BBDC4-9196-4534-BB5D-436C5F6D8958}" dt="2024-02-28T16:09:06.776" v="1101" actId="478"/>
            <ac:spMkLst>
              <pc:docMk/>
              <pc:sldMasterMk cId="2201614670" sldId="2147483659"/>
              <pc:sldLayoutMk cId="2838222479" sldId="2147483701"/>
              <ac:spMk id="15" creationId="{B2C372E1-B560-FDA1-459D-8E81F4365BA1}"/>
            </ac:spMkLst>
          </pc:spChg>
          <pc:spChg chg="mod">
            <ac:chgData name="Ana Blasi Sanchiz" userId="ade4f707-3308-4888-b575-5e32ac6efcc8" providerId="ADAL" clId="{D38BBDC4-9196-4534-BB5D-436C5F6D8958}" dt="2024-02-28T16:16:45.310" v="1118" actId="14100"/>
            <ac:spMkLst>
              <pc:docMk/>
              <pc:sldMasterMk cId="2201614670" sldId="2147483659"/>
              <pc:sldLayoutMk cId="2838222479" sldId="2147483701"/>
              <ac:spMk id="21" creationId="{DA86DF42-7A6A-CE49-32BD-394F2B5C4E37}"/>
            </ac:spMkLst>
          </pc:spChg>
          <pc:spChg chg="del mod">
            <ac:chgData name="Ana Blasi Sanchiz" userId="ade4f707-3308-4888-b575-5e32ac6efcc8" providerId="ADAL" clId="{D38BBDC4-9196-4534-BB5D-436C5F6D8958}" dt="2024-02-28T16:09:04.175" v="1099" actId="478"/>
            <ac:spMkLst>
              <pc:docMk/>
              <pc:sldMasterMk cId="2201614670" sldId="2147483659"/>
              <pc:sldLayoutMk cId="2838222479" sldId="2147483701"/>
              <ac:spMk id="25" creationId="{E8F899EC-115E-FD35-D464-F970DF1ABDDD}"/>
            </ac:spMkLst>
          </pc:spChg>
          <pc:spChg chg="del">
            <ac:chgData name="Ana Blasi Sanchiz" userId="ade4f707-3308-4888-b575-5e32ac6efcc8" providerId="ADAL" clId="{D38BBDC4-9196-4534-BB5D-436C5F6D8958}" dt="2024-02-28T16:16:40.182" v="1116" actId="478"/>
            <ac:spMkLst>
              <pc:docMk/>
              <pc:sldMasterMk cId="2201614670" sldId="2147483659"/>
              <pc:sldLayoutMk cId="2838222479" sldId="2147483701"/>
              <ac:spMk id="26" creationId="{A051651F-B61F-6107-A03F-0B68FFE4063C}"/>
            </ac:spMkLst>
          </pc:spChg>
          <pc:spChg chg="del">
            <ac:chgData name="Ana Blasi Sanchiz" userId="ade4f707-3308-4888-b575-5e32ac6efcc8" providerId="ADAL" clId="{D38BBDC4-9196-4534-BB5D-436C5F6D8958}" dt="2024-02-28T16:16:40.182" v="1116" actId="478"/>
            <ac:spMkLst>
              <pc:docMk/>
              <pc:sldMasterMk cId="2201614670" sldId="2147483659"/>
              <pc:sldLayoutMk cId="2838222479" sldId="2147483701"/>
              <ac:spMk id="28" creationId="{056C4E39-E389-AA2A-CE36-AEB683FCA3B4}"/>
            </ac:spMkLst>
          </pc:spChg>
          <pc:spChg chg="del">
            <ac:chgData name="Ana Blasi Sanchiz" userId="ade4f707-3308-4888-b575-5e32ac6efcc8" providerId="ADAL" clId="{D38BBDC4-9196-4534-BB5D-436C5F6D8958}" dt="2024-02-28T16:16:40.182" v="1116" actId="478"/>
            <ac:spMkLst>
              <pc:docMk/>
              <pc:sldMasterMk cId="2201614670" sldId="2147483659"/>
              <pc:sldLayoutMk cId="2838222479" sldId="2147483701"/>
              <ac:spMk id="29" creationId="{3B57CFB7-B312-8460-70EB-DCF7D13154FA}"/>
            </ac:spMkLst>
          </pc:spChg>
          <pc:spChg chg="del">
            <ac:chgData name="Ana Blasi Sanchiz" userId="ade4f707-3308-4888-b575-5e32ac6efcc8" providerId="ADAL" clId="{D38BBDC4-9196-4534-BB5D-436C5F6D8958}" dt="2024-02-28T16:16:40.182" v="1116" actId="478"/>
            <ac:spMkLst>
              <pc:docMk/>
              <pc:sldMasterMk cId="2201614670" sldId="2147483659"/>
              <pc:sldLayoutMk cId="2838222479" sldId="2147483701"/>
              <ac:spMk id="30" creationId="{55B3AD6F-41D8-74C9-E37A-C710CFDDA297}"/>
            </ac:spMkLst>
          </pc:spChg>
          <pc:spChg chg="del">
            <ac:chgData name="Ana Blasi Sanchiz" userId="ade4f707-3308-4888-b575-5e32ac6efcc8" providerId="ADAL" clId="{D38BBDC4-9196-4534-BB5D-436C5F6D8958}" dt="2024-02-28T16:16:40.182" v="1116" actId="478"/>
            <ac:spMkLst>
              <pc:docMk/>
              <pc:sldMasterMk cId="2201614670" sldId="2147483659"/>
              <pc:sldLayoutMk cId="2838222479" sldId="2147483701"/>
              <ac:spMk id="31" creationId="{4AAE88EE-775E-6696-086B-0C06BB5DBC83}"/>
            </ac:spMkLst>
          </pc:spChg>
          <pc:spChg chg="del">
            <ac:chgData name="Ana Blasi Sanchiz" userId="ade4f707-3308-4888-b575-5e32ac6efcc8" providerId="ADAL" clId="{D38BBDC4-9196-4534-BB5D-436C5F6D8958}" dt="2024-02-28T16:16:40.182" v="1116" actId="478"/>
            <ac:spMkLst>
              <pc:docMk/>
              <pc:sldMasterMk cId="2201614670" sldId="2147483659"/>
              <pc:sldLayoutMk cId="2838222479" sldId="2147483701"/>
              <ac:spMk id="32" creationId="{F9D95BD5-9FC6-033C-3606-1FBC7B80B2B8}"/>
            </ac:spMkLst>
          </pc:spChg>
        </pc:sldLayoutChg>
        <pc:sldLayoutChg chg="modSp mod">
          <pc:chgData name="Ana Blasi Sanchiz" userId="ade4f707-3308-4888-b575-5e32ac6efcc8" providerId="ADAL" clId="{D38BBDC4-9196-4534-BB5D-436C5F6D8958}" dt="2024-02-28T16:04:15.013" v="1068" actId="255"/>
          <pc:sldLayoutMkLst>
            <pc:docMk/>
            <pc:sldMasterMk cId="2201614670" sldId="2147483659"/>
            <pc:sldLayoutMk cId="651184622" sldId="2147483718"/>
          </pc:sldLayoutMkLst>
          <pc:spChg chg="mod">
            <ac:chgData name="Ana Blasi Sanchiz" userId="ade4f707-3308-4888-b575-5e32ac6efcc8" providerId="ADAL" clId="{D38BBDC4-9196-4534-BB5D-436C5F6D8958}" dt="2024-02-28T16:04:15.013" v="1068" actId="255"/>
            <ac:spMkLst>
              <pc:docMk/>
              <pc:sldMasterMk cId="2201614670" sldId="2147483659"/>
              <pc:sldLayoutMk cId="651184622" sldId="2147483718"/>
              <ac:spMk id="7" creationId="{630596EF-76AD-5A5E-01A6-323F448FF583}"/>
            </ac:spMkLst>
          </pc:spChg>
        </pc:sldLayoutChg>
        <pc:sldLayoutChg chg="addSp delSp modSp new mod ord">
          <pc:chgData name="Ana Blasi Sanchiz" userId="ade4f707-3308-4888-b575-5e32ac6efcc8" providerId="ADAL" clId="{D38BBDC4-9196-4534-BB5D-436C5F6D8958}" dt="2024-01-25T17:16:31.706" v="66" actId="20578"/>
          <pc:sldLayoutMkLst>
            <pc:docMk/>
            <pc:sldMasterMk cId="2201614670" sldId="2147483659"/>
            <pc:sldLayoutMk cId="645369987" sldId="2147483719"/>
          </pc:sldLayoutMkLst>
          <pc:spChg chg="mod">
            <ac:chgData name="Ana Blasi Sanchiz" userId="ade4f707-3308-4888-b575-5e32ac6efcc8" providerId="ADAL" clId="{D38BBDC4-9196-4534-BB5D-436C5F6D8958}" dt="2024-01-25T17:14:32.170" v="51" actId="20577"/>
            <ac:spMkLst>
              <pc:docMk/>
              <pc:sldMasterMk cId="2201614670" sldId="2147483659"/>
              <pc:sldLayoutMk cId="645369987" sldId="2147483719"/>
              <ac:spMk id="2" creationId="{82A83ABD-3B99-1FA7-710B-BC2067200A6B}"/>
            </ac:spMkLst>
          </pc:spChg>
          <pc:spChg chg="add del">
            <ac:chgData name="Ana Blasi Sanchiz" userId="ade4f707-3308-4888-b575-5e32ac6efcc8" providerId="ADAL" clId="{D38BBDC4-9196-4534-BB5D-436C5F6D8958}" dt="2024-01-25T17:14:39.430" v="52" actId="11529"/>
            <ac:spMkLst>
              <pc:docMk/>
              <pc:sldMasterMk cId="2201614670" sldId="2147483659"/>
              <pc:sldLayoutMk cId="645369987" sldId="2147483719"/>
              <ac:spMk id="6" creationId="{9B07498A-5F20-EFB1-FBC4-2716B00B2880}"/>
            </ac:spMkLst>
          </pc:spChg>
          <pc:spChg chg="add del mod">
            <ac:chgData name="Ana Blasi Sanchiz" userId="ade4f707-3308-4888-b575-5e32ac6efcc8" providerId="ADAL" clId="{D38BBDC4-9196-4534-BB5D-436C5F6D8958}" dt="2024-01-25T17:15:20.830" v="56" actId="478"/>
            <ac:spMkLst>
              <pc:docMk/>
              <pc:sldMasterMk cId="2201614670" sldId="2147483659"/>
              <pc:sldLayoutMk cId="645369987" sldId="2147483719"/>
              <ac:spMk id="7" creationId="{74229BBF-7066-3188-DBC4-D303FD735CC9}"/>
            </ac:spMkLst>
          </pc:spChg>
          <pc:spChg chg="add del">
            <ac:chgData name="Ana Blasi Sanchiz" userId="ade4f707-3308-4888-b575-5e32ac6efcc8" providerId="ADAL" clId="{D38BBDC4-9196-4534-BB5D-436C5F6D8958}" dt="2024-01-25T17:14:50.410" v="54" actId="478"/>
            <ac:spMkLst>
              <pc:docMk/>
              <pc:sldMasterMk cId="2201614670" sldId="2147483659"/>
              <pc:sldLayoutMk cId="645369987" sldId="2147483719"/>
              <ac:spMk id="8" creationId="{54DDE0C3-DAF1-026C-82A2-4051F62A1617}"/>
            </ac:spMkLst>
          </pc:spChg>
          <pc:spChg chg="add mod">
            <ac:chgData name="Ana Blasi Sanchiz" userId="ade4f707-3308-4888-b575-5e32ac6efcc8" providerId="ADAL" clId="{D38BBDC4-9196-4534-BB5D-436C5F6D8958}" dt="2024-01-25T17:16:16.111" v="65" actId="20577"/>
            <ac:spMkLst>
              <pc:docMk/>
              <pc:sldMasterMk cId="2201614670" sldId="2147483659"/>
              <pc:sldLayoutMk cId="645369987" sldId="2147483719"/>
              <ac:spMk id="9" creationId="{37BCA803-ADBC-6B05-A378-8F91D8A5DC9B}"/>
            </ac:spMkLst>
          </pc:spChg>
          <pc:cxnChg chg="add mod">
            <ac:chgData name="Ana Blasi Sanchiz" userId="ade4f707-3308-4888-b575-5e32ac6efcc8" providerId="ADAL" clId="{D38BBDC4-9196-4534-BB5D-436C5F6D8958}" dt="2024-01-25T17:14:25.114" v="36"/>
            <ac:cxnSpMkLst>
              <pc:docMk/>
              <pc:sldMasterMk cId="2201614670" sldId="2147483659"/>
              <pc:sldLayoutMk cId="645369987" sldId="2147483719"/>
              <ac:cxnSpMk id="5" creationId="{E940FEF5-402B-82C6-CE4E-C8D67FF85B11}"/>
            </ac:cxnSpMkLst>
          </pc:cxnChg>
        </pc:sldLayoutChg>
        <pc:sldLayoutChg chg="del">
          <pc:chgData name="Ana Blasi Sanchiz" userId="ade4f707-3308-4888-b575-5e32ac6efcc8" providerId="ADAL" clId="{D38BBDC4-9196-4534-BB5D-436C5F6D8958}" dt="2024-01-25T17:24:38.028" v="187" actId="47"/>
          <pc:sldLayoutMkLst>
            <pc:docMk/>
            <pc:sldMasterMk cId="2201614670" sldId="2147483659"/>
            <pc:sldLayoutMk cId="1794477745" sldId="2147483720"/>
          </pc:sldLayoutMkLst>
        </pc:sldLayoutChg>
      </pc:sldMasterChg>
    </pc:docChg>
  </pc:docChgLst>
  <pc:docChgLst>
    <pc:chgData name="Ana Blasi Sanchiz" userId="ade4f707-3308-4888-b575-5e32ac6efcc8" providerId="ADAL" clId="{E1CADF8E-9C95-4393-B328-B680AC11CCFC}"/>
    <pc:docChg chg="undo custSel addSld delSld modSld sldOrd addMainMaster modMainMaster addSection modSection">
      <pc:chgData name="Ana Blasi Sanchiz" userId="ade4f707-3308-4888-b575-5e32ac6efcc8" providerId="ADAL" clId="{E1CADF8E-9C95-4393-B328-B680AC11CCFC}" dt="2024-01-23T17:21:14.318" v="1083" actId="20577"/>
      <pc:docMkLst>
        <pc:docMk/>
      </pc:docMkLst>
      <pc:sldChg chg="addSp delSp modSp mod ord">
        <pc:chgData name="Ana Blasi Sanchiz" userId="ade4f707-3308-4888-b575-5e32ac6efcc8" providerId="ADAL" clId="{E1CADF8E-9C95-4393-B328-B680AC11CCFC}" dt="2024-01-16T21:01:09.014" v="404"/>
        <pc:sldMkLst>
          <pc:docMk/>
          <pc:sldMk cId="1901158683" sldId="262"/>
        </pc:sldMkLst>
        <pc:spChg chg="mod">
          <ac:chgData name="Ana Blasi Sanchiz" userId="ade4f707-3308-4888-b575-5e32ac6efcc8" providerId="ADAL" clId="{E1CADF8E-9C95-4393-B328-B680AC11CCFC}" dt="2024-01-16T21:01:09.014" v="404"/>
          <ac:spMkLst>
            <pc:docMk/>
            <pc:sldMk cId="1901158683" sldId="262"/>
            <ac:spMk id="2" creationId="{7A90DEA5-732B-94F5-7A50-114F40705CA4}"/>
          </ac:spMkLst>
        </pc:spChg>
        <pc:spChg chg="mod">
          <ac:chgData name="Ana Blasi Sanchiz" userId="ade4f707-3308-4888-b575-5e32ac6efcc8" providerId="ADAL" clId="{E1CADF8E-9C95-4393-B328-B680AC11CCFC}" dt="2024-01-10T15:39:53.391" v="2" actId="1076"/>
          <ac:spMkLst>
            <pc:docMk/>
            <pc:sldMk cId="1901158683" sldId="262"/>
            <ac:spMk id="6" creationId="{EAA402A8-BD59-1203-AE63-1F5245B809CD}"/>
          </ac:spMkLst>
        </pc:spChg>
        <pc:spChg chg="add del">
          <ac:chgData name="Ana Blasi Sanchiz" userId="ade4f707-3308-4888-b575-5e32ac6efcc8" providerId="ADAL" clId="{E1CADF8E-9C95-4393-B328-B680AC11CCFC}" dt="2024-01-10T15:46:23.421" v="44" actId="478"/>
          <ac:spMkLst>
            <pc:docMk/>
            <pc:sldMk cId="1901158683" sldId="262"/>
            <ac:spMk id="9" creationId="{3DAEE0D0-AA6A-6A93-776F-55B6B52DD0AC}"/>
          </ac:spMkLst>
        </pc:spChg>
        <pc:spChg chg="add del">
          <ac:chgData name="Ana Blasi Sanchiz" userId="ade4f707-3308-4888-b575-5e32ac6efcc8" providerId="ADAL" clId="{E1CADF8E-9C95-4393-B328-B680AC11CCFC}" dt="2024-01-10T15:46:23.421" v="44" actId="478"/>
          <ac:spMkLst>
            <pc:docMk/>
            <pc:sldMk cId="1901158683" sldId="262"/>
            <ac:spMk id="11" creationId="{F4EE9D74-F678-ECF5-1817-C492025FFBC3}"/>
          </ac:spMkLst>
        </pc:spChg>
        <pc:spChg chg="add del">
          <ac:chgData name="Ana Blasi Sanchiz" userId="ade4f707-3308-4888-b575-5e32ac6efcc8" providerId="ADAL" clId="{E1CADF8E-9C95-4393-B328-B680AC11CCFC}" dt="2024-01-10T15:46:20.803" v="43" actId="478"/>
          <ac:spMkLst>
            <pc:docMk/>
            <pc:sldMk cId="1901158683" sldId="262"/>
            <ac:spMk id="12" creationId="{6C3D13ED-F25C-D54B-09BA-30664A796843}"/>
          </ac:spMkLst>
        </pc:spChg>
        <pc:spChg chg="add del">
          <ac:chgData name="Ana Blasi Sanchiz" userId="ade4f707-3308-4888-b575-5e32ac6efcc8" providerId="ADAL" clId="{E1CADF8E-9C95-4393-B328-B680AC11CCFC}" dt="2024-01-10T15:46:20.803" v="43" actId="478"/>
          <ac:spMkLst>
            <pc:docMk/>
            <pc:sldMk cId="1901158683" sldId="262"/>
            <ac:spMk id="14" creationId="{69FF616A-3B5C-C9F8-EF79-FAB63379C96B}"/>
          </ac:spMkLst>
        </pc:spChg>
        <pc:spChg chg="add del">
          <ac:chgData name="Ana Blasi Sanchiz" userId="ade4f707-3308-4888-b575-5e32ac6efcc8" providerId="ADAL" clId="{E1CADF8E-9C95-4393-B328-B680AC11CCFC}" dt="2024-01-10T15:46:20.803" v="43" actId="478"/>
          <ac:spMkLst>
            <pc:docMk/>
            <pc:sldMk cId="1901158683" sldId="262"/>
            <ac:spMk id="15" creationId="{09623073-B8FA-AFA5-E568-EBB740B3E56D}"/>
          </ac:spMkLst>
        </pc:spChg>
        <pc:spChg chg="add del">
          <ac:chgData name="Ana Blasi Sanchiz" userId="ade4f707-3308-4888-b575-5e32ac6efcc8" providerId="ADAL" clId="{E1CADF8E-9C95-4393-B328-B680AC11CCFC}" dt="2024-01-10T15:46:20.803" v="43" actId="478"/>
          <ac:spMkLst>
            <pc:docMk/>
            <pc:sldMk cId="1901158683" sldId="262"/>
            <ac:spMk id="17" creationId="{7F209E70-060A-F402-99B8-E66E34FFCE0A}"/>
          </ac:spMkLst>
        </pc:spChg>
        <pc:spChg chg="add del">
          <ac:chgData name="Ana Blasi Sanchiz" userId="ade4f707-3308-4888-b575-5e32ac6efcc8" providerId="ADAL" clId="{E1CADF8E-9C95-4393-B328-B680AC11CCFC}" dt="2024-01-10T15:46:20.803" v="43" actId="478"/>
          <ac:spMkLst>
            <pc:docMk/>
            <pc:sldMk cId="1901158683" sldId="262"/>
            <ac:spMk id="18" creationId="{B5534403-10EE-9C0B-C98B-D935E979E02E}"/>
          </ac:spMkLst>
        </pc:spChg>
        <pc:spChg chg="add del">
          <ac:chgData name="Ana Blasi Sanchiz" userId="ade4f707-3308-4888-b575-5e32ac6efcc8" providerId="ADAL" clId="{E1CADF8E-9C95-4393-B328-B680AC11CCFC}" dt="2024-01-10T15:46:20.803" v="43" actId="478"/>
          <ac:spMkLst>
            <pc:docMk/>
            <pc:sldMk cId="1901158683" sldId="262"/>
            <ac:spMk id="19" creationId="{A7F4FE7C-B6D8-7FED-8FAC-527E56310A3B}"/>
          </ac:spMkLst>
        </pc:spChg>
        <pc:cxnChg chg="add del">
          <ac:chgData name="Ana Blasi Sanchiz" userId="ade4f707-3308-4888-b575-5e32ac6efcc8" providerId="ADAL" clId="{E1CADF8E-9C95-4393-B328-B680AC11CCFC}" dt="2024-01-10T15:46:17.457" v="42" actId="478"/>
          <ac:cxnSpMkLst>
            <pc:docMk/>
            <pc:sldMk cId="1901158683" sldId="262"/>
            <ac:cxnSpMk id="7" creationId="{2800DA58-5DBA-5210-F638-36EF5ECA70B7}"/>
          </ac:cxnSpMkLst>
        </pc:cxnChg>
        <pc:cxnChg chg="add del">
          <ac:chgData name="Ana Blasi Sanchiz" userId="ade4f707-3308-4888-b575-5e32ac6efcc8" providerId="ADAL" clId="{E1CADF8E-9C95-4393-B328-B680AC11CCFC}" dt="2024-01-10T15:46:20.803" v="43" actId="478"/>
          <ac:cxnSpMkLst>
            <pc:docMk/>
            <pc:sldMk cId="1901158683" sldId="262"/>
            <ac:cxnSpMk id="10" creationId="{DEDF0BA2-E61A-9A53-CFFC-B606896F4C17}"/>
          </ac:cxnSpMkLst>
        </pc:cxnChg>
        <pc:cxnChg chg="add del">
          <ac:chgData name="Ana Blasi Sanchiz" userId="ade4f707-3308-4888-b575-5e32ac6efcc8" providerId="ADAL" clId="{E1CADF8E-9C95-4393-B328-B680AC11CCFC}" dt="2024-01-10T15:46:20.803" v="43" actId="478"/>
          <ac:cxnSpMkLst>
            <pc:docMk/>
            <pc:sldMk cId="1901158683" sldId="262"/>
            <ac:cxnSpMk id="13" creationId="{7A6B51DE-6865-5711-1250-5039D9572738}"/>
          </ac:cxnSpMkLst>
        </pc:cxnChg>
        <pc:cxnChg chg="add del">
          <ac:chgData name="Ana Blasi Sanchiz" userId="ade4f707-3308-4888-b575-5e32ac6efcc8" providerId="ADAL" clId="{E1CADF8E-9C95-4393-B328-B680AC11CCFC}" dt="2024-01-10T15:46:20.803" v="43" actId="478"/>
          <ac:cxnSpMkLst>
            <pc:docMk/>
            <pc:sldMk cId="1901158683" sldId="262"/>
            <ac:cxnSpMk id="16" creationId="{35E2A9AC-B7CF-4F5D-C5AB-EBFE78BDF72D}"/>
          </ac:cxnSpMkLst>
        </pc:cxnChg>
      </pc:sldChg>
      <pc:sldChg chg="addSp delSp modSp mod modNotesTx">
        <pc:chgData name="Ana Blasi Sanchiz" userId="ade4f707-3308-4888-b575-5e32ac6efcc8" providerId="ADAL" clId="{E1CADF8E-9C95-4393-B328-B680AC11CCFC}" dt="2024-01-23T17:18:40.110" v="1049" actId="20577"/>
        <pc:sldMkLst>
          <pc:docMk/>
          <pc:sldMk cId="737499137" sldId="263"/>
        </pc:sldMkLst>
        <pc:spChg chg="mod">
          <ac:chgData name="Ana Blasi Sanchiz" userId="ade4f707-3308-4888-b575-5e32ac6efcc8" providerId="ADAL" clId="{E1CADF8E-9C95-4393-B328-B680AC11CCFC}" dt="2024-01-16T21:00:52.361" v="396"/>
          <ac:spMkLst>
            <pc:docMk/>
            <pc:sldMk cId="737499137" sldId="263"/>
            <ac:spMk id="2" creationId="{028E8EB7-EE18-7936-F2B3-D754509453A3}"/>
          </ac:spMkLst>
        </pc:spChg>
        <pc:spChg chg="mod">
          <ac:chgData name="Ana Blasi Sanchiz" userId="ade4f707-3308-4888-b575-5e32ac6efcc8" providerId="ADAL" clId="{E1CADF8E-9C95-4393-B328-B680AC11CCFC}" dt="2024-01-23T17:18:40.110" v="1049" actId="20577"/>
          <ac:spMkLst>
            <pc:docMk/>
            <pc:sldMk cId="737499137" sldId="263"/>
            <ac:spMk id="6" creationId="{49DB1511-65B8-AE93-4754-8557B3A8CB97}"/>
          </ac:spMkLst>
        </pc:spChg>
        <pc:spChg chg="add del">
          <ac:chgData name="Ana Blasi Sanchiz" userId="ade4f707-3308-4888-b575-5e32ac6efcc8" providerId="ADAL" clId="{E1CADF8E-9C95-4393-B328-B680AC11CCFC}" dt="2024-01-15T15:48:48.301" v="330" actId="478"/>
          <ac:spMkLst>
            <pc:docMk/>
            <pc:sldMk cId="737499137" sldId="263"/>
            <ac:spMk id="7" creationId="{29FDCFC1-D6DC-EAE6-D071-5DA592D58353}"/>
          </ac:spMkLst>
        </pc:spChg>
        <pc:spChg chg="mod">
          <ac:chgData name="Ana Blasi Sanchiz" userId="ade4f707-3308-4888-b575-5e32ac6efcc8" providerId="ADAL" clId="{E1CADF8E-9C95-4393-B328-B680AC11CCFC}" dt="2024-01-15T15:48:27.988" v="328" actId="14100"/>
          <ac:spMkLst>
            <pc:docMk/>
            <pc:sldMk cId="737499137" sldId="263"/>
            <ac:spMk id="8" creationId="{9E3E69EB-4685-1890-60B5-83573F9D3FF8}"/>
          </ac:spMkLst>
        </pc:spChg>
        <pc:spChg chg="add del">
          <ac:chgData name="Ana Blasi Sanchiz" userId="ade4f707-3308-4888-b575-5e32ac6efcc8" providerId="ADAL" clId="{E1CADF8E-9C95-4393-B328-B680AC11CCFC}" dt="2024-01-15T15:47:19.220" v="323" actId="22"/>
          <ac:spMkLst>
            <pc:docMk/>
            <pc:sldMk cId="737499137" sldId="263"/>
            <ac:spMk id="10" creationId="{4DE9DD90-F41A-18EC-73AB-8AF458417FAE}"/>
          </ac:spMkLst>
        </pc:spChg>
        <pc:spChg chg="mod">
          <ac:chgData name="Ana Blasi Sanchiz" userId="ade4f707-3308-4888-b575-5e32ac6efcc8" providerId="ADAL" clId="{E1CADF8E-9C95-4393-B328-B680AC11CCFC}" dt="2024-01-11T08:56:39.749" v="48"/>
          <ac:spMkLst>
            <pc:docMk/>
            <pc:sldMk cId="737499137" sldId="263"/>
            <ac:spMk id="17" creationId="{E76EA232-C193-D538-E1C6-4879CCD706C2}"/>
          </ac:spMkLst>
        </pc:spChg>
        <pc:spChg chg="mod">
          <ac:chgData name="Ana Blasi Sanchiz" userId="ade4f707-3308-4888-b575-5e32ac6efcc8" providerId="ADAL" clId="{E1CADF8E-9C95-4393-B328-B680AC11CCFC}" dt="2024-01-11T08:56:39.749" v="48"/>
          <ac:spMkLst>
            <pc:docMk/>
            <pc:sldMk cId="737499137" sldId="263"/>
            <ac:spMk id="18" creationId="{317DEFE0-FD3F-E373-C8C2-75A25BCE8F0E}"/>
          </ac:spMkLst>
        </pc:spChg>
        <pc:spChg chg="mod">
          <ac:chgData name="Ana Blasi Sanchiz" userId="ade4f707-3308-4888-b575-5e32ac6efcc8" providerId="ADAL" clId="{E1CADF8E-9C95-4393-B328-B680AC11CCFC}" dt="2024-01-11T08:56:39.749" v="48"/>
          <ac:spMkLst>
            <pc:docMk/>
            <pc:sldMk cId="737499137" sldId="263"/>
            <ac:spMk id="19" creationId="{2763A02C-B991-ACE6-09CF-42A3BF67EA70}"/>
          </ac:spMkLst>
        </pc:spChg>
        <pc:spChg chg="mod">
          <ac:chgData name="Ana Blasi Sanchiz" userId="ade4f707-3308-4888-b575-5e32ac6efcc8" providerId="ADAL" clId="{E1CADF8E-9C95-4393-B328-B680AC11CCFC}" dt="2024-01-11T08:56:39.749" v="48"/>
          <ac:spMkLst>
            <pc:docMk/>
            <pc:sldMk cId="737499137" sldId="263"/>
            <ac:spMk id="20" creationId="{58EEBD0E-04A1-B6DD-1B6C-5B1F18509848}"/>
          </ac:spMkLst>
        </pc:spChg>
        <pc:grpChg chg="mod">
          <ac:chgData name="Ana Blasi Sanchiz" userId="ade4f707-3308-4888-b575-5e32ac6efcc8" providerId="ADAL" clId="{E1CADF8E-9C95-4393-B328-B680AC11CCFC}" dt="2024-01-15T15:49:46.483" v="336" actId="1076"/>
          <ac:grpSpMkLst>
            <pc:docMk/>
            <pc:sldMk cId="737499137" sldId="263"/>
            <ac:grpSpMk id="14" creationId="{EA7533B8-C610-E65D-2680-EE82A2317C02}"/>
          </ac:grpSpMkLst>
        </pc:grpChg>
        <pc:grpChg chg="del">
          <ac:chgData name="Ana Blasi Sanchiz" userId="ade4f707-3308-4888-b575-5e32ac6efcc8" providerId="ADAL" clId="{E1CADF8E-9C95-4393-B328-B680AC11CCFC}" dt="2024-01-11T08:57:19.043" v="51" actId="478"/>
          <ac:grpSpMkLst>
            <pc:docMk/>
            <pc:sldMk cId="737499137" sldId="263"/>
            <ac:grpSpMk id="15" creationId="{8C119095-00A6-8379-3FE4-88A894AD631C}"/>
          </ac:grpSpMkLst>
        </pc:grpChg>
        <pc:grpChg chg="add del mod">
          <ac:chgData name="Ana Blasi Sanchiz" userId="ade4f707-3308-4888-b575-5e32ac6efcc8" providerId="ADAL" clId="{E1CADF8E-9C95-4393-B328-B680AC11CCFC}" dt="2024-01-11T08:56:42.442" v="50" actId="478"/>
          <ac:grpSpMkLst>
            <pc:docMk/>
            <pc:sldMk cId="737499137" sldId="263"/>
            <ac:grpSpMk id="16" creationId="{A86BFECA-C2C2-F3E0-1C50-2F901E90ED18}"/>
          </ac:grpSpMkLst>
        </pc:grpChg>
      </pc:sldChg>
      <pc:sldChg chg="addSp modSp mod ord">
        <pc:chgData name="Ana Blasi Sanchiz" userId="ade4f707-3308-4888-b575-5e32ac6efcc8" providerId="ADAL" clId="{E1CADF8E-9C95-4393-B328-B680AC11CCFC}" dt="2024-01-19T15:16:05.173" v="976" actId="20577"/>
        <pc:sldMkLst>
          <pc:docMk/>
          <pc:sldMk cId="175525001" sldId="264"/>
        </pc:sldMkLst>
        <pc:spChg chg="mod">
          <ac:chgData name="Ana Blasi Sanchiz" userId="ade4f707-3308-4888-b575-5e32ac6efcc8" providerId="ADAL" clId="{E1CADF8E-9C95-4393-B328-B680AC11CCFC}" dt="2024-01-16T21:01:03.742" v="400"/>
          <ac:spMkLst>
            <pc:docMk/>
            <pc:sldMk cId="175525001" sldId="264"/>
            <ac:spMk id="2" creationId="{DFA49040-DC51-B640-E0A3-853DB155E7EC}"/>
          </ac:spMkLst>
        </pc:spChg>
        <pc:spChg chg="add mod">
          <ac:chgData name="Ana Blasi Sanchiz" userId="ade4f707-3308-4888-b575-5e32ac6efcc8" providerId="ADAL" clId="{E1CADF8E-9C95-4393-B328-B680AC11CCFC}" dt="2024-01-19T15:16:05.173" v="976" actId="20577"/>
          <ac:spMkLst>
            <pc:docMk/>
            <pc:sldMk cId="175525001" sldId="264"/>
            <ac:spMk id="7" creationId="{3AA50354-D988-FB8D-490E-6F9E154BB042}"/>
          </ac:spMkLst>
        </pc:spChg>
        <pc:graphicFrameChg chg="mod modGraphic">
          <ac:chgData name="Ana Blasi Sanchiz" userId="ade4f707-3308-4888-b575-5e32ac6efcc8" providerId="ADAL" clId="{E1CADF8E-9C95-4393-B328-B680AC11CCFC}" dt="2024-01-19T15:15:55.310" v="972" actId="14100"/>
          <ac:graphicFrameMkLst>
            <pc:docMk/>
            <pc:sldMk cId="175525001" sldId="264"/>
            <ac:graphicFrameMk id="6" creationId="{D35AAD09-FA9F-78F3-95E3-9F41599F3234}"/>
          </ac:graphicFrameMkLst>
        </pc:graphicFrameChg>
      </pc:sldChg>
      <pc:sldChg chg="del">
        <pc:chgData name="Ana Blasi Sanchiz" userId="ade4f707-3308-4888-b575-5e32ac6efcc8" providerId="ADAL" clId="{E1CADF8E-9C95-4393-B328-B680AC11CCFC}" dt="2024-01-10T15:42:54.909" v="21" actId="47"/>
        <pc:sldMkLst>
          <pc:docMk/>
          <pc:sldMk cId="2619318428" sldId="267"/>
        </pc:sldMkLst>
      </pc:sldChg>
      <pc:sldChg chg="delSp modSp mod modNotesTx">
        <pc:chgData name="Ana Blasi Sanchiz" userId="ade4f707-3308-4888-b575-5e32ac6efcc8" providerId="ADAL" clId="{E1CADF8E-9C95-4393-B328-B680AC11CCFC}" dt="2024-01-16T21:00:40.612" v="393" actId="20577"/>
        <pc:sldMkLst>
          <pc:docMk/>
          <pc:sldMk cId="2063071196" sldId="268"/>
        </pc:sldMkLst>
        <pc:spChg chg="mod">
          <ac:chgData name="Ana Blasi Sanchiz" userId="ade4f707-3308-4888-b575-5e32ac6efcc8" providerId="ADAL" clId="{E1CADF8E-9C95-4393-B328-B680AC11CCFC}" dt="2024-01-16T21:00:40.612" v="393" actId="20577"/>
          <ac:spMkLst>
            <pc:docMk/>
            <pc:sldMk cId="2063071196" sldId="268"/>
            <ac:spMk id="2" creationId="{65E5CEF4-0456-9DC4-4BA8-605A2AE6DDEF}"/>
          </ac:spMkLst>
        </pc:spChg>
        <pc:spChg chg="del">
          <ac:chgData name="Ana Blasi Sanchiz" userId="ade4f707-3308-4888-b575-5e32ac6efcc8" providerId="ADAL" clId="{E1CADF8E-9C95-4393-B328-B680AC11CCFC}" dt="2024-01-10T15:38:02.515" v="0" actId="478"/>
          <ac:spMkLst>
            <pc:docMk/>
            <pc:sldMk cId="2063071196" sldId="268"/>
            <ac:spMk id="4" creationId="{9D5032CC-E02E-10AC-CF9D-D920E4B364ED}"/>
          </ac:spMkLst>
        </pc:spChg>
        <pc:grpChg chg="del">
          <ac:chgData name="Ana Blasi Sanchiz" userId="ade4f707-3308-4888-b575-5e32ac6efcc8" providerId="ADAL" clId="{E1CADF8E-9C95-4393-B328-B680AC11CCFC}" dt="2024-01-10T15:43:00.039" v="22" actId="478"/>
          <ac:grpSpMkLst>
            <pc:docMk/>
            <pc:sldMk cId="2063071196" sldId="268"/>
            <ac:grpSpMk id="25" creationId="{CA43C07E-F381-C53E-A8B5-18F0AB871473}"/>
          </ac:grpSpMkLst>
        </pc:grpChg>
        <pc:grpChg chg="del">
          <ac:chgData name="Ana Blasi Sanchiz" userId="ade4f707-3308-4888-b575-5e32ac6efcc8" providerId="ADAL" clId="{E1CADF8E-9C95-4393-B328-B680AC11CCFC}" dt="2024-01-10T15:43:00.039" v="22" actId="478"/>
          <ac:grpSpMkLst>
            <pc:docMk/>
            <pc:sldMk cId="2063071196" sldId="268"/>
            <ac:grpSpMk id="26" creationId="{0A902107-EF97-9C0D-A4E5-4B7B4DDA34B3}"/>
          </ac:grpSpMkLst>
        </pc:grpChg>
      </pc:sldChg>
      <pc:sldChg chg="addSp delSp modSp mod ord modNotesTx">
        <pc:chgData name="Ana Blasi Sanchiz" userId="ade4f707-3308-4888-b575-5e32ac6efcc8" providerId="ADAL" clId="{E1CADF8E-9C95-4393-B328-B680AC11CCFC}" dt="2024-01-17T15:13:55.405" v="658" actId="1076"/>
        <pc:sldMkLst>
          <pc:docMk/>
          <pc:sldMk cId="4151877612" sldId="271"/>
        </pc:sldMkLst>
        <pc:spChg chg="add mod">
          <ac:chgData name="Ana Blasi Sanchiz" userId="ade4f707-3308-4888-b575-5e32ac6efcc8" providerId="ADAL" clId="{E1CADF8E-9C95-4393-B328-B680AC11CCFC}" dt="2024-01-15T15:50:15.979" v="337" actId="790"/>
          <ac:spMkLst>
            <pc:docMk/>
            <pc:sldMk cId="4151877612" sldId="271"/>
            <ac:spMk id="2" creationId="{E27B93D8-2768-EEB7-BE67-BCF7CC0DA468}"/>
          </ac:spMkLst>
        </pc:spChg>
        <pc:spChg chg="mod">
          <ac:chgData name="Ana Blasi Sanchiz" userId="ade4f707-3308-4888-b575-5e32ac6efcc8" providerId="ADAL" clId="{E1CADF8E-9C95-4393-B328-B680AC11CCFC}" dt="2024-01-16T10:12:21.302" v="353"/>
          <ac:spMkLst>
            <pc:docMk/>
            <pc:sldMk cId="4151877612" sldId="271"/>
            <ac:spMk id="8" creationId="{A5B6076B-A835-9B00-10FD-E3937A11E7F7}"/>
          </ac:spMkLst>
        </pc:spChg>
        <pc:spChg chg="mod">
          <ac:chgData name="Ana Blasi Sanchiz" userId="ade4f707-3308-4888-b575-5e32ac6efcc8" providerId="ADAL" clId="{E1CADF8E-9C95-4393-B328-B680AC11CCFC}" dt="2024-01-16T10:12:21.302" v="353"/>
          <ac:spMkLst>
            <pc:docMk/>
            <pc:sldMk cId="4151877612" sldId="271"/>
            <ac:spMk id="9" creationId="{8741A699-7E05-2251-E0EF-88E745D81F9B}"/>
          </ac:spMkLst>
        </pc:spChg>
        <pc:spChg chg="mod">
          <ac:chgData name="Ana Blasi Sanchiz" userId="ade4f707-3308-4888-b575-5e32ac6efcc8" providerId="ADAL" clId="{E1CADF8E-9C95-4393-B328-B680AC11CCFC}" dt="2024-01-16T10:13:19.129" v="363" actId="5793"/>
          <ac:spMkLst>
            <pc:docMk/>
            <pc:sldMk cId="4151877612" sldId="271"/>
            <ac:spMk id="11" creationId="{CA08824E-9429-770C-5A63-2D0A4C215A3E}"/>
          </ac:spMkLst>
        </pc:spChg>
        <pc:spChg chg="mod">
          <ac:chgData name="Ana Blasi Sanchiz" userId="ade4f707-3308-4888-b575-5e32ac6efcc8" providerId="ADAL" clId="{E1CADF8E-9C95-4393-B328-B680AC11CCFC}" dt="2024-01-16T10:12:40.835" v="359"/>
          <ac:spMkLst>
            <pc:docMk/>
            <pc:sldMk cId="4151877612" sldId="271"/>
            <ac:spMk id="12" creationId="{5C6AFEDB-C131-FDFA-DB3C-AF2E22E657F7}"/>
          </ac:spMkLst>
        </pc:spChg>
        <pc:spChg chg="mod">
          <ac:chgData name="Ana Blasi Sanchiz" userId="ade4f707-3308-4888-b575-5e32ac6efcc8" providerId="ADAL" clId="{E1CADF8E-9C95-4393-B328-B680AC11CCFC}" dt="2024-01-16T12:06:47.570" v="364"/>
          <ac:spMkLst>
            <pc:docMk/>
            <pc:sldMk cId="4151877612" sldId="271"/>
            <ac:spMk id="14" creationId="{461D3D4D-BD18-D8EF-1387-7203DC5BB22A}"/>
          </ac:spMkLst>
        </pc:spChg>
        <pc:spChg chg="mod">
          <ac:chgData name="Ana Blasi Sanchiz" userId="ade4f707-3308-4888-b575-5e32ac6efcc8" providerId="ADAL" clId="{E1CADF8E-9C95-4393-B328-B680AC11CCFC}" dt="2024-01-16T12:06:47.570" v="364"/>
          <ac:spMkLst>
            <pc:docMk/>
            <pc:sldMk cId="4151877612" sldId="271"/>
            <ac:spMk id="15" creationId="{474EFA71-1A60-F4D4-3A6F-6E6837AF0688}"/>
          </ac:spMkLst>
        </pc:spChg>
        <pc:spChg chg="del mod">
          <ac:chgData name="Ana Blasi Sanchiz" userId="ade4f707-3308-4888-b575-5e32ac6efcc8" providerId="ADAL" clId="{E1CADF8E-9C95-4393-B328-B680AC11CCFC}" dt="2024-01-11T11:25:44.428" v="265" actId="478"/>
          <ac:spMkLst>
            <pc:docMk/>
            <pc:sldMk cId="4151877612" sldId="271"/>
            <ac:spMk id="18" creationId="{17B93152-EFFD-F15A-365B-5FA04C4C247E}"/>
          </ac:spMkLst>
        </pc:spChg>
        <pc:spChg chg="del">
          <ac:chgData name="Ana Blasi Sanchiz" userId="ade4f707-3308-4888-b575-5e32ac6efcc8" providerId="ADAL" clId="{E1CADF8E-9C95-4393-B328-B680AC11CCFC}" dt="2024-01-10T15:42:50.645" v="20" actId="478"/>
          <ac:spMkLst>
            <pc:docMk/>
            <pc:sldMk cId="4151877612" sldId="271"/>
            <ac:spMk id="19" creationId="{5C9EEF4E-E5B8-270B-299D-7F5FB6070B1D}"/>
          </ac:spMkLst>
        </pc:spChg>
        <pc:spChg chg="del">
          <ac:chgData name="Ana Blasi Sanchiz" userId="ade4f707-3308-4888-b575-5e32ac6efcc8" providerId="ADAL" clId="{E1CADF8E-9C95-4393-B328-B680AC11CCFC}" dt="2024-01-10T15:42:50.645" v="20" actId="478"/>
          <ac:spMkLst>
            <pc:docMk/>
            <pc:sldMk cId="4151877612" sldId="271"/>
            <ac:spMk id="20" creationId="{99A91E06-7620-78C1-50D2-017D855F7D65}"/>
          </ac:spMkLst>
        </pc:spChg>
        <pc:spChg chg="mod">
          <ac:chgData name="Ana Blasi Sanchiz" userId="ade4f707-3308-4888-b575-5e32ac6efcc8" providerId="ADAL" clId="{E1CADF8E-9C95-4393-B328-B680AC11CCFC}" dt="2024-01-16T10:12:17.829" v="351"/>
          <ac:spMkLst>
            <pc:docMk/>
            <pc:sldMk cId="4151877612" sldId="271"/>
            <ac:spMk id="21" creationId="{0235A388-EEFC-169F-ABFA-13A15EDE2687}"/>
          </ac:spMkLst>
        </pc:spChg>
        <pc:spChg chg="del">
          <ac:chgData name="Ana Blasi Sanchiz" userId="ade4f707-3308-4888-b575-5e32ac6efcc8" providerId="ADAL" clId="{E1CADF8E-9C95-4393-B328-B680AC11CCFC}" dt="2024-01-10T15:42:50.645" v="20" actId="478"/>
          <ac:spMkLst>
            <pc:docMk/>
            <pc:sldMk cId="4151877612" sldId="271"/>
            <ac:spMk id="22" creationId="{BD567FFF-13A2-0EA4-54DE-D71E9850F8C0}"/>
          </ac:spMkLst>
        </pc:spChg>
        <pc:spChg chg="del">
          <ac:chgData name="Ana Blasi Sanchiz" userId="ade4f707-3308-4888-b575-5e32ac6efcc8" providerId="ADAL" clId="{E1CADF8E-9C95-4393-B328-B680AC11CCFC}" dt="2024-01-10T15:42:50.645" v="20" actId="478"/>
          <ac:spMkLst>
            <pc:docMk/>
            <pc:sldMk cId="4151877612" sldId="271"/>
            <ac:spMk id="23" creationId="{04DBE0FA-E896-4077-45D7-FABA19CCC1E7}"/>
          </ac:spMkLst>
        </pc:spChg>
        <pc:grpChg chg="add del mod">
          <ac:chgData name="Ana Blasi Sanchiz" userId="ade4f707-3308-4888-b575-5e32ac6efcc8" providerId="ADAL" clId="{E1CADF8E-9C95-4393-B328-B680AC11CCFC}" dt="2024-01-16T10:12:21.088" v="352" actId="21"/>
          <ac:grpSpMkLst>
            <pc:docMk/>
            <pc:sldMk cId="4151877612" sldId="271"/>
            <ac:grpSpMk id="6" creationId="{6DE36D08-3120-D747-7974-FD31641637A5}"/>
          </ac:grpSpMkLst>
        </pc:grpChg>
        <pc:grpChg chg="add del mod">
          <ac:chgData name="Ana Blasi Sanchiz" userId="ade4f707-3308-4888-b575-5e32ac6efcc8" providerId="ADAL" clId="{E1CADF8E-9C95-4393-B328-B680AC11CCFC}" dt="2024-01-16T10:12:37.596" v="358"/>
          <ac:grpSpMkLst>
            <pc:docMk/>
            <pc:sldMk cId="4151877612" sldId="271"/>
            <ac:grpSpMk id="7" creationId="{C8551B73-12CE-CD75-C819-418A8F91B236}"/>
          </ac:grpSpMkLst>
        </pc:grpChg>
        <pc:grpChg chg="add mod">
          <ac:chgData name="Ana Blasi Sanchiz" userId="ade4f707-3308-4888-b575-5e32ac6efcc8" providerId="ADAL" clId="{E1CADF8E-9C95-4393-B328-B680AC11CCFC}" dt="2024-01-17T15:13:55.405" v="658" actId="1076"/>
          <ac:grpSpMkLst>
            <pc:docMk/>
            <pc:sldMk cId="4151877612" sldId="271"/>
            <ac:grpSpMk id="10" creationId="{40888B12-BCCA-B076-CE6D-E72908C2616F}"/>
          </ac:grpSpMkLst>
        </pc:grpChg>
        <pc:grpChg chg="add del mod">
          <ac:chgData name="Ana Blasi Sanchiz" userId="ade4f707-3308-4888-b575-5e32ac6efcc8" providerId="ADAL" clId="{E1CADF8E-9C95-4393-B328-B680AC11CCFC}" dt="2024-01-16T12:07:19.750" v="382" actId="478"/>
          <ac:grpSpMkLst>
            <pc:docMk/>
            <pc:sldMk cId="4151877612" sldId="271"/>
            <ac:grpSpMk id="13" creationId="{E2C7512D-8FF1-8214-8C8F-06CE84072CE8}"/>
          </ac:grpSpMkLst>
        </pc:grpChg>
      </pc:sldChg>
      <pc:sldChg chg="addSp delSp modSp mod ord modNotesTx">
        <pc:chgData name="Ana Blasi Sanchiz" userId="ade4f707-3308-4888-b575-5e32ac6efcc8" providerId="ADAL" clId="{E1CADF8E-9C95-4393-B328-B680AC11CCFC}" dt="2024-01-23T17:19:42.359" v="1082" actId="20577"/>
        <pc:sldMkLst>
          <pc:docMk/>
          <pc:sldMk cId="1284213670" sldId="272"/>
        </pc:sldMkLst>
        <pc:spChg chg="mod">
          <ac:chgData name="Ana Blasi Sanchiz" userId="ade4f707-3308-4888-b575-5e32ac6efcc8" providerId="ADAL" clId="{E1CADF8E-9C95-4393-B328-B680AC11CCFC}" dt="2024-01-16T21:01:06.627" v="403"/>
          <ac:spMkLst>
            <pc:docMk/>
            <pc:sldMk cId="1284213670" sldId="272"/>
            <ac:spMk id="2" creationId="{7A90DEA5-732B-94F5-7A50-114F40705CA4}"/>
          </ac:spMkLst>
        </pc:spChg>
        <pc:spChg chg="add del">
          <ac:chgData name="Ana Blasi Sanchiz" userId="ade4f707-3308-4888-b575-5e32ac6efcc8" providerId="ADAL" clId="{E1CADF8E-9C95-4393-B328-B680AC11CCFC}" dt="2024-01-16T21:01:05.904" v="402" actId="22"/>
          <ac:spMkLst>
            <pc:docMk/>
            <pc:sldMk cId="1284213670" sldId="272"/>
            <ac:spMk id="7" creationId="{AD4914AB-A936-DBFD-ACF0-7EF80C65CFCA}"/>
          </ac:spMkLst>
        </pc:spChg>
        <pc:spChg chg="mod">
          <ac:chgData name="Ana Blasi Sanchiz" userId="ade4f707-3308-4888-b575-5e32ac6efcc8" providerId="ADAL" clId="{E1CADF8E-9C95-4393-B328-B680AC11CCFC}" dt="2024-01-23T17:19:03.175" v="1065" actId="20577"/>
          <ac:spMkLst>
            <pc:docMk/>
            <pc:sldMk cId="1284213670" sldId="272"/>
            <ac:spMk id="20" creationId="{374CD269-FB4C-3085-487B-EC50382F94E6}"/>
          </ac:spMkLst>
        </pc:spChg>
        <pc:spChg chg="mod">
          <ac:chgData name="Ana Blasi Sanchiz" userId="ade4f707-3308-4888-b575-5e32ac6efcc8" providerId="ADAL" clId="{E1CADF8E-9C95-4393-B328-B680AC11CCFC}" dt="2024-01-23T17:19:10.230" v="1068" actId="20577"/>
          <ac:spMkLst>
            <pc:docMk/>
            <pc:sldMk cId="1284213670" sldId="272"/>
            <ac:spMk id="23" creationId="{B78F8B1B-186F-11C4-7B26-A7ABE96DD927}"/>
          </ac:spMkLst>
        </pc:spChg>
        <pc:grpChg chg="add del">
          <ac:chgData name="Ana Blasi Sanchiz" userId="ade4f707-3308-4888-b575-5e32ac6efcc8" providerId="ADAL" clId="{E1CADF8E-9C95-4393-B328-B680AC11CCFC}" dt="2024-01-10T15:46:34.351" v="47" actId="478"/>
          <ac:grpSpMkLst>
            <pc:docMk/>
            <pc:sldMk cId="1284213670" sldId="272"/>
            <ac:grpSpMk id="31" creationId="{5482B75C-65D9-8349-C8D7-3F7B211AC36A}"/>
          </ac:grpSpMkLst>
        </pc:grpChg>
        <pc:grpChg chg="add del">
          <ac:chgData name="Ana Blasi Sanchiz" userId="ade4f707-3308-4888-b575-5e32ac6efcc8" providerId="ADAL" clId="{E1CADF8E-9C95-4393-B328-B680AC11CCFC}" dt="2024-01-10T15:46:34.351" v="47" actId="478"/>
          <ac:grpSpMkLst>
            <pc:docMk/>
            <pc:sldMk cId="1284213670" sldId="272"/>
            <ac:grpSpMk id="32" creationId="{E44F9CBE-971A-88D5-8D52-541EB44B5FF7}"/>
          </ac:grpSpMkLst>
        </pc:grpChg>
        <pc:grpChg chg="add del">
          <ac:chgData name="Ana Blasi Sanchiz" userId="ade4f707-3308-4888-b575-5e32ac6efcc8" providerId="ADAL" clId="{E1CADF8E-9C95-4393-B328-B680AC11CCFC}" dt="2024-01-10T15:46:34.351" v="47" actId="478"/>
          <ac:grpSpMkLst>
            <pc:docMk/>
            <pc:sldMk cId="1284213670" sldId="272"/>
            <ac:grpSpMk id="33" creationId="{5A36B452-A40C-4A4B-758A-1736523DBE98}"/>
          </ac:grpSpMkLst>
        </pc:grpChg>
      </pc:sldChg>
      <pc:sldChg chg="addSp delSp modSp mod modNotesTx">
        <pc:chgData name="Ana Blasi Sanchiz" userId="ade4f707-3308-4888-b575-5e32ac6efcc8" providerId="ADAL" clId="{E1CADF8E-9C95-4393-B328-B680AC11CCFC}" dt="2024-01-18T19:02:05.643" v="906" actId="21"/>
        <pc:sldMkLst>
          <pc:docMk/>
          <pc:sldMk cId="2101858900" sldId="273"/>
        </pc:sldMkLst>
        <pc:spChg chg="mod">
          <ac:chgData name="Ana Blasi Sanchiz" userId="ade4f707-3308-4888-b575-5e32ac6efcc8" providerId="ADAL" clId="{E1CADF8E-9C95-4393-B328-B680AC11CCFC}" dt="2024-01-11T11:23:27.578" v="225" actId="164"/>
          <ac:spMkLst>
            <pc:docMk/>
            <pc:sldMk cId="2101858900" sldId="273"/>
            <ac:spMk id="2" creationId="{9B9717C0-6CE9-8169-870B-0AF62C017FB7}"/>
          </ac:spMkLst>
        </pc:spChg>
        <pc:spChg chg="ord">
          <ac:chgData name="Ana Blasi Sanchiz" userId="ade4f707-3308-4888-b575-5e32ac6efcc8" providerId="ADAL" clId="{E1CADF8E-9C95-4393-B328-B680AC11CCFC}" dt="2024-01-11T11:21:00.441" v="183" actId="13244"/>
          <ac:spMkLst>
            <pc:docMk/>
            <pc:sldMk cId="2101858900" sldId="273"/>
            <ac:spMk id="3" creationId="{701536A4-CADA-8A65-0917-1E44A9351591}"/>
          </ac:spMkLst>
        </pc:spChg>
        <pc:spChg chg="del">
          <ac:chgData name="Ana Blasi Sanchiz" userId="ade4f707-3308-4888-b575-5e32ac6efcc8" providerId="ADAL" clId="{E1CADF8E-9C95-4393-B328-B680AC11CCFC}" dt="2024-01-10T15:43:06.201" v="23" actId="478"/>
          <ac:spMkLst>
            <pc:docMk/>
            <pc:sldMk cId="2101858900" sldId="273"/>
            <ac:spMk id="4" creationId="{217CF944-05EC-AC7A-728B-65C4C15CFCA1}"/>
          </ac:spMkLst>
        </pc:spChg>
        <pc:spChg chg="add mod ord">
          <ac:chgData name="Ana Blasi Sanchiz" userId="ade4f707-3308-4888-b575-5e32ac6efcc8" providerId="ADAL" clId="{E1CADF8E-9C95-4393-B328-B680AC11CCFC}" dt="2024-01-15T15:50:23.669" v="338" actId="790"/>
          <ac:spMkLst>
            <pc:docMk/>
            <pc:sldMk cId="2101858900" sldId="273"/>
            <ac:spMk id="4" creationId="{393A2C06-C317-53DE-B3FE-A4BE1B30AA94}"/>
          </ac:spMkLst>
        </pc:spChg>
        <pc:spChg chg="ord">
          <ac:chgData name="Ana Blasi Sanchiz" userId="ade4f707-3308-4888-b575-5e32ac6efcc8" providerId="ADAL" clId="{E1CADF8E-9C95-4393-B328-B680AC11CCFC}" dt="2024-01-11T11:21:00.441" v="183" actId="13244"/>
          <ac:spMkLst>
            <pc:docMk/>
            <pc:sldMk cId="2101858900" sldId="273"/>
            <ac:spMk id="5" creationId="{05E6CEC0-CF0E-739E-362D-393D7FFF61BA}"/>
          </ac:spMkLst>
        </pc:spChg>
        <pc:spChg chg="mod">
          <ac:chgData name="Ana Blasi Sanchiz" userId="ade4f707-3308-4888-b575-5e32ac6efcc8" providerId="ADAL" clId="{E1CADF8E-9C95-4393-B328-B680AC11CCFC}" dt="2024-01-11T11:23:39.816" v="231" actId="1076"/>
          <ac:spMkLst>
            <pc:docMk/>
            <pc:sldMk cId="2101858900" sldId="273"/>
            <ac:spMk id="6" creationId="{9DAAC182-A070-DEB3-4499-CCBA5B25549B}"/>
          </ac:spMkLst>
        </pc:spChg>
        <pc:spChg chg="mod">
          <ac:chgData name="Ana Blasi Sanchiz" userId="ade4f707-3308-4888-b575-5e32ac6efcc8" providerId="ADAL" clId="{E1CADF8E-9C95-4393-B328-B680AC11CCFC}" dt="2024-01-11T11:23:27.578" v="225" actId="164"/>
          <ac:spMkLst>
            <pc:docMk/>
            <pc:sldMk cId="2101858900" sldId="273"/>
            <ac:spMk id="7" creationId="{F5870B19-B801-2FB9-BB37-607835729A99}"/>
          </ac:spMkLst>
        </pc:spChg>
        <pc:spChg chg="mod ord">
          <ac:chgData name="Ana Blasi Sanchiz" userId="ade4f707-3308-4888-b575-5e32ac6efcc8" providerId="ADAL" clId="{E1CADF8E-9C95-4393-B328-B680AC11CCFC}" dt="2024-01-16T21:00:46.543" v="394"/>
          <ac:spMkLst>
            <pc:docMk/>
            <pc:sldMk cId="2101858900" sldId="273"/>
            <ac:spMk id="9" creationId="{CFF11A0C-18CB-7A8C-8607-C951E69B17B1}"/>
          </ac:spMkLst>
        </pc:spChg>
        <pc:spChg chg="add del mod ord">
          <ac:chgData name="Ana Blasi Sanchiz" userId="ade4f707-3308-4888-b575-5e32ac6efcc8" providerId="ADAL" clId="{E1CADF8E-9C95-4393-B328-B680AC11CCFC}" dt="2024-01-11T11:24:08.922" v="238" actId="478"/>
          <ac:spMkLst>
            <pc:docMk/>
            <pc:sldMk cId="2101858900" sldId="273"/>
            <ac:spMk id="10" creationId="{59E1AE5C-680E-4E7F-D25D-1660A3FE209D}"/>
          </ac:spMkLst>
        </pc:spChg>
        <pc:spChg chg="add mod">
          <ac:chgData name="Ana Blasi Sanchiz" userId="ade4f707-3308-4888-b575-5e32ac6efcc8" providerId="ADAL" clId="{E1CADF8E-9C95-4393-B328-B680AC11CCFC}" dt="2024-01-11T11:22:35.866" v="216" actId="571"/>
          <ac:spMkLst>
            <pc:docMk/>
            <pc:sldMk cId="2101858900" sldId="273"/>
            <ac:spMk id="11" creationId="{735AC1A6-C13E-16D8-C84E-06E6BBC9B991}"/>
          </ac:spMkLst>
        </pc:spChg>
        <pc:spChg chg="del">
          <ac:chgData name="Ana Blasi Sanchiz" userId="ade4f707-3308-4888-b575-5e32ac6efcc8" providerId="ADAL" clId="{E1CADF8E-9C95-4393-B328-B680AC11CCFC}" dt="2024-01-10T15:43:06.201" v="23" actId="478"/>
          <ac:spMkLst>
            <pc:docMk/>
            <pc:sldMk cId="2101858900" sldId="273"/>
            <ac:spMk id="11" creationId="{8A58C57A-32CC-95F3-DCF9-77C2AB6BB516}"/>
          </ac:spMkLst>
        </pc:spChg>
        <pc:spChg chg="del">
          <ac:chgData name="Ana Blasi Sanchiz" userId="ade4f707-3308-4888-b575-5e32ac6efcc8" providerId="ADAL" clId="{E1CADF8E-9C95-4393-B328-B680AC11CCFC}" dt="2024-01-10T15:43:06.201" v="23" actId="478"/>
          <ac:spMkLst>
            <pc:docMk/>
            <pc:sldMk cId="2101858900" sldId="273"/>
            <ac:spMk id="12" creationId="{2B9D0A94-9C6F-D3A4-1654-7530331225C3}"/>
          </ac:spMkLst>
        </pc:spChg>
        <pc:spChg chg="del">
          <ac:chgData name="Ana Blasi Sanchiz" userId="ade4f707-3308-4888-b575-5e32ac6efcc8" providerId="ADAL" clId="{E1CADF8E-9C95-4393-B328-B680AC11CCFC}" dt="2024-01-10T15:43:06.201" v="23" actId="478"/>
          <ac:spMkLst>
            <pc:docMk/>
            <pc:sldMk cId="2101858900" sldId="273"/>
            <ac:spMk id="13" creationId="{1513921D-48E4-D8B8-E180-E771AA2DBCBE}"/>
          </ac:spMkLst>
        </pc:spChg>
        <pc:spChg chg="mod">
          <ac:chgData name="Ana Blasi Sanchiz" userId="ade4f707-3308-4888-b575-5e32ac6efcc8" providerId="ADAL" clId="{E1CADF8E-9C95-4393-B328-B680AC11CCFC}" dt="2024-01-11T11:22:35.866" v="216" actId="571"/>
          <ac:spMkLst>
            <pc:docMk/>
            <pc:sldMk cId="2101858900" sldId="273"/>
            <ac:spMk id="13" creationId="{77624637-27A9-3C1C-CE5D-BADFCFC8C648}"/>
          </ac:spMkLst>
        </pc:spChg>
        <pc:spChg chg="mod">
          <ac:chgData name="Ana Blasi Sanchiz" userId="ade4f707-3308-4888-b575-5e32ac6efcc8" providerId="ADAL" clId="{E1CADF8E-9C95-4393-B328-B680AC11CCFC}" dt="2024-01-11T11:22:35.866" v="216" actId="571"/>
          <ac:spMkLst>
            <pc:docMk/>
            <pc:sldMk cId="2101858900" sldId="273"/>
            <ac:spMk id="14" creationId="{AB1BC111-2EDF-231D-40D5-949BA1E46941}"/>
          </ac:spMkLst>
        </pc:spChg>
        <pc:spChg chg="mod">
          <ac:chgData name="Ana Blasi Sanchiz" userId="ade4f707-3308-4888-b575-5e32ac6efcc8" providerId="ADAL" clId="{E1CADF8E-9C95-4393-B328-B680AC11CCFC}" dt="2024-01-11T11:22:35.866" v="216" actId="571"/>
          <ac:spMkLst>
            <pc:docMk/>
            <pc:sldMk cId="2101858900" sldId="273"/>
            <ac:spMk id="15" creationId="{C9C5A61E-7571-D7BC-E2F0-D4D4A52D9D86}"/>
          </ac:spMkLst>
        </pc:spChg>
        <pc:spChg chg="add mod">
          <ac:chgData name="Ana Blasi Sanchiz" userId="ade4f707-3308-4888-b575-5e32ac6efcc8" providerId="ADAL" clId="{E1CADF8E-9C95-4393-B328-B680AC11CCFC}" dt="2024-01-11T11:23:54.606" v="235" actId="164"/>
          <ac:spMkLst>
            <pc:docMk/>
            <pc:sldMk cId="2101858900" sldId="273"/>
            <ac:spMk id="17" creationId="{FB03BDC7-6FFB-07BA-8578-A9C0A6819791}"/>
          </ac:spMkLst>
        </pc:spChg>
        <pc:spChg chg="add mod">
          <ac:chgData name="Ana Blasi Sanchiz" userId="ade4f707-3308-4888-b575-5e32ac6efcc8" providerId="ADAL" clId="{E1CADF8E-9C95-4393-B328-B680AC11CCFC}" dt="2024-01-11T11:24:52.187" v="255" actId="1038"/>
          <ac:spMkLst>
            <pc:docMk/>
            <pc:sldMk cId="2101858900" sldId="273"/>
            <ac:spMk id="18" creationId="{914C24D3-1BDB-E031-ACD6-D2E5FFCB71A6}"/>
          </ac:spMkLst>
        </pc:spChg>
        <pc:grpChg chg="del mod ord">
          <ac:chgData name="Ana Blasi Sanchiz" userId="ade4f707-3308-4888-b575-5e32ac6efcc8" providerId="ADAL" clId="{E1CADF8E-9C95-4393-B328-B680AC11CCFC}" dt="2024-01-11T11:23:46.382" v="234" actId="478"/>
          <ac:grpSpMkLst>
            <pc:docMk/>
            <pc:sldMk cId="2101858900" sldId="273"/>
            <ac:grpSpMk id="8" creationId="{191A7D98-7460-2E9E-4881-83CBD1750531}"/>
          </ac:grpSpMkLst>
        </pc:grpChg>
        <pc:grpChg chg="add mod">
          <ac:chgData name="Ana Blasi Sanchiz" userId="ade4f707-3308-4888-b575-5e32ac6efcc8" providerId="ADAL" clId="{E1CADF8E-9C95-4393-B328-B680AC11CCFC}" dt="2024-01-11T11:22:35.866" v="216" actId="571"/>
          <ac:grpSpMkLst>
            <pc:docMk/>
            <pc:sldMk cId="2101858900" sldId="273"/>
            <ac:grpSpMk id="12" creationId="{909F24D9-8CDE-83CB-12B4-9FFBF4AB3734}"/>
          </ac:grpSpMkLst>
        </pc:grpChg>
        <pc:grpChg chg="add del mod">
          <ac:chgData name="Ana Blasi Sanchiz" userId="ade4f707-3308-4888-b575-5e32ac6efcc8" providerId="ADAL" clId="{E1CADF8E-9C95-4393-B328-B680AC11CCFC}" dt="2024-01-11T11:23:27.578" v="225" actId="164"/>
          <ac:grpSpMkLst>
            <pc:docMk/>
            <pc:sldMk cId="2101858900" sldId="273"/>
            <ac:grpSpMk id="16" creationId="{58866E2A-BCAF-F9F4-F90B-CE40CF24846F}"/>
          </ac:grpSpMkLst>
        </pc:grpChg>
        <pc:grpChg chg="add del mod">
          <ac:chgData name="Ana Blasi Sanchiz" userId="ade4f707-3308-4888-b575-5e32ac6efcc8" providerId="ADAL" clId="{E1CADF8E-9C95-4393-B328-B680AC11CCFC}" dt="2024-01-18T19:02:05.643" v="906" actId="21"/>
          <ac:grpSpMkLst>
            <pc:docMk/>
            <pc:sldMk cId="2101858900" sldId="273"/>
            <ac:grpSpMk id="19" creationId="{24D6E2C2-6248-516D-C582-E8DD34B9C68B}"/>
          </ac:grpSpMkLst>
        </pc:grpChg>
        <pc:grpChg chg="del">
          <ac:chgData name="Ana Blasi Sanchiz" userId="ade4f707-3308-4888-b575-5e32ac6efcc8" providerId="ADAL" clId="{E1CADF8E-9C95-4393-B328-B680AC11CCFC}" dt="2024-01-10T15:43:06.201" v="23" actId="478"/>
          <ac:grpSpMkLst>
            <pc:docMk/>
            <pc:sldMk cId="2101858900" sldId="273"/>
            <ac:grpSpMk id="33" creationId="{17E5A9AF-5591-A6DB-C97C-8C630BF03BB3}"/>
          </ac:grpSpMkLst>
        </pc:grpChg>
        <pc:grpChg chg="del">
          <ac:chgData name="Ana Blasi Sanchiz" userId="ade4f707-3308-4888-b575-5e32ac6efcc8" providerId="ADAL" clId="{E1CADF8E-9C95-4393-B328-B680AC11CCFC}" dt="2024-01-10T15:43:06.201" v="23" actId="478"/>
          <ac:grpSpMkLst>
            <pc:docMk/>
            <pc:sldMk cId="2101858900" sldId="273"/>
            <ac:grpSpMk id="37" creationId="{9311FABC-6A62-E716-F520-11EFB112BEFC}"/>
          </ac:grpSpMkLst>
        </pc:grpChg>
        <pc:grpChg chg="del">
          <ac:chgData name="Ana Blasi Sanchiz" userId="ade4f707-3308-4888-b575-5e32ac6efcc8" providerId="ADAL" clId="{E1CADF8E-9C95-4393-B328-B680AC11CCFC}" dt="2024-01-10T15:43:06.201" v="23" actId="478"/>
          <ac:grpSpMkLst>
            <pc:docMk/>
            <pc:sldMk cId="2101858900" sldId="273"/>
            <ac:grpSpMk id="41" creationId="{2CE9722A-96FD-4BEA-3163-61D729E530D0}"/>
          </ac:grpSpMkLst>
        </pc:grpChg>
      </pc:sldChg>
      <pc:sldChg chg="addSp delSp modSp mod modNotesTx">
        <pc:chgData name="Ana Blasi Sanchiz" userId="ade4f707-3308-4888-b575-5e32ac6efcc8" providerId="ADAL" clId="{E1CADF8E-9C95-4393-B328-B680AC11CCFC}" dt="2024-01-16T21:00:49.225" v="395"/>
        <pc:sldMkLst>
          <pc:docMk/>
          <pc:sldMk cId="2475390000" sldId="274"/>
        </pc:sldMkLst>
        <pc:spChg chg="mod">
          <ac:chgData name="Ana Blasi Sanchiz" userId="ade4f707-3308-4888-b575-5e32ac6efcc8" providerId="ADAL" clId="{E1CADF8E-9C95-4393-B328-B680AC11CCFC}" dt="2024-01-11T09:59:36.991" v="52" actId="571"/>
          <ac:spMkLst>
            <pc:docMk/>
            <pc:sldMk cId="2475390000" sldId="274"/>
            <ac:spMk id="6" creationId="{5991FFF7-4E82-954E-3467-17820C9F3C6F}"/>
          </ac:spMkLst>
        </pc:spChg>
        <pc:spChg chg="mod">
          <ac:chgData name="Ana Blasi Sanchiz" userId="ade4f707-3308-4888-b575-5e32ac6efcc8" providerId="ADAL" clId="{E1CADF8E-9C95-4393-B328-B680AC11CCFC}" dt="2024-01-11T09:59:36.991" v="52" actId="571"/>
          <ac:spMkLst>
            <pc:docMk/>
            <pc:sldMk cId="2475390000" sldId="274"/>
            <ac:spMk id="7" creationId="{279CC0BA-4320-E6E9-FCA7-3EF3319AB7CD}"/>
          </ac:spMkLst>
        </pc:spChg>
        <pc:spChg chg="mod">
          <ac:chgData name="Ana Blasi Sanchiz" userId="ade4f707-3308-4888-b575-5e32ac6efcc8" providerId="ADAL" clId="{E1CADF8E-9C95-4393-B328-B680AC11CCFC}" dt="2024-01-11T09:59:36.991" v="52" actId="571"/>
          <ac:spMkLst>
            <pc:docMk/>
            <pc:sldMk cId="2475390000" sldId="274"/>
            <ac:spMk id="9" creationId="{B5400AEC-FE08-3B8C-3829-53BFFA752B6A}"/>
          </ac:spMkLst>
        </pc:spChg>
        <pc:spChg chg="mod">
          <ac:chgData name="Ana Blasi Sanchiz" userId="ade4f707-3308-4888-b575-5e32ac6efcc8" providerId="ADAL" clId="{E1CADF8E-9C95-4393-B328-B680AC11CCFC}" dt="2024-01-11T09:59:36.991" v="52" actId="571"/>
          <ac:spMkLst>
            <pc:docMk/>
            <pc:sldMk cId="2475390000" sldId="274"/>
            <ac:spMk id="10" creationId="{9CD1BD4D-1F56-5A34-4CD8-97903C2B305B}"/>
          </ac:spMkLst>
        </pc:spChg>
        <pc:spChg chg="mod">
          <ac:chgData name="Ana Blasi Sanchiz" userId="ade4f707-3308-4888-b575-5e32ac6efcc8" providerId="ADAL" clId="{E1CADF8E-9C95-4393-B328-B680AC11CCFC}" dt="2024-01-16T21:00:49.225" v="395"/>
          <ac:spMkLst>
            <pc:docMk/>
            <pc:sldMk cId="2475390000" sldId="274"/>
            <ac:spMk id="26" creationId="{8D135415-E100-F0B5-85C6-2432028A1D50}"/>
          </ac:spMkLst>
        </pc:spChg>
        <pc:grpChg chg="add del mod">
          <ac:chgData name="Ana Blasi Sanchiz" userId="ade4f707-3308-4888-b575-5e32ac6efcc8" providerId="ADAL" clId="{E1CADF8E-9C95-4393-B328-B680AC11CCFC}" dt="2024-01-11T09:59:37.686" v="53" actId="478"/>
          <ac:grpSpMkLst>
            <pc:docMk/>
            <pc:sldMk cId="2475390000" sldId="274"/>
            <ac:grpSpMk id="2" creationId="{DEB57249-EB1A-D4DC-19F9-EE0D00B74AF4}"/>
          </ac:grpSpMkLst>
        </pc:grpChg>
        <pc:grpChg chg="add del mod">
          <ac:chgData name="Ana Blasi Sanchiz" userId="ade4f707-3308-4888-b575-5e32ac6efcc8" providerId="ADAL" clId="{E1CADF8E-9C95-4393-B328-B680AC11CCFC}" dt="2024-01-11T09:59:37.686" v="53" actId="478"/>
          <ac:grpSpMkLst>
            <pc:docMk/>
            <pc:sldMk cId="2475390000" sldId="274"/>
            <ac:grpSpMk id="8" creationId="{993469F1-6B06-8E73-F780-3A901332BB55}"/>
          </ac:grpSpMkLst>
        </pc:grpChg>
        <pc:grpChg chg="del">
          <ac:chgData name="Ana Blasi Sanchiz" userId="ade4f707-3308-4888-b575-5e32ac6efcc8" providerId="ADAL" clId="{E1CADF8E-9C95-4393-B328-B680AC11CCFC}" dt="2024-01-11T09:59:40.440" v="54" actId="478"/>
          <ac:grpSpMkLst>
            <pc:docMk/>
            <pc:sldMk cId="2475390000" sldId="274"/>
            <ac:grpSpMk id="20" creationId="{1E31F4AF-CD6D-4C4E-C731-DE3E8E6CE11F}"/>
          </ac:grpSpMkLst>
        </pc:grpChg>
        <pc:grpChg chg="del">
          <ac:chgData name="Ana Blasi Sanchiz" userId="ade4f707-3308-4888-b575-5e32ac6efcc8" providerId="ADAL" clId="{E1CADF8E-9C95-4393-B328-B680AC11CCFC}" dt="2024-01-11T09:59:40.440" v="54" actId="478"/>
          <ac:grpSpMkLst>
            <pc:docMk/>
            <pc:sldMk cId="2475390000" sldId="274"/>
            <ac:grpSpMk id="23" creationId="{CD7BCAA3-EAF3-710F-9F78-5230CCD6A193}"/>
          </ac:grpSpMkLst>
        </pc:grpChg>
      </pc:sldChg>
      <pc:sldChg chg="addSp delSp modSp mod ord modNotesTx">
        <pc:chgData name="Ana Blasi Sanchiz" userId="ade4f707-3308-4888-b575-5e32ac6efcc8" providerId="ADAL" clId="{E1CADF8E-9C95-4393-B328-B680AC11CCFC}" dt="2024-01-22T13:44:23.995" v="981" actId="20577"/>
        <pc:sldMkLst>
          <pc:docMk/>
          <pc:sldMk cId="529972285" sldId="275"/>
        </pc:sldMkLst>
        <pc:spChg chg="add del mod">
          <ac:chgData name="Ana Blasi Sanchiz" userId="ade4f707-3308-4888-b575-5e32ac6efcc8" providerId="ADAL" clId="{E1CADF8E-9C95-4393-B328-B680AC11CCFC}" dt="2024-01-11T11:29:02.637" v="310" actId="478"/>
          <ac:spMkLst>
            <pc:docMk/>
            <pc:sldMk cId="529972285" sldId="275"/>
            <ac:spMk id="2" creationId="{4FE7224E-B30B-5EE0-811F-DC69901743CD}"/>
          </ac:spMkLst>
        </pc:spChg>
        <pc:spChg chg="add del mod">
          <ac:chgData name="Ana Blasi Sanchiz" userId="ade4f707-3308-4888-b575-5e32ac6efcc8" providerId="ADAL" clId="{E1CADF8E-9C95-4393-B328-B680AC11CCFC}" dt="2024-01-10T15:44:18.464" v="32" actId="478"/>
          <ac:spMkLst>
            <pc:docMk/>
            <pc:sldMk cId="529972285" sldId="275"/>
            <ac:spMk id="6" creationId="{8AFED703-BC32-82AA-7185-841C8F7255BD}"/>
          </ac:spMkLst>
        </pc:spChg>
        <pc:spChg chg="mod">
          <ac:chgData name="Ana Blasi Sanchiz" userId="ade4f707-3308-4888-b575-5e32ac6efcc8" providerId="ADAL" clId="{E1CADF8E-9C95-4393-B328-B680AC11CCFC}" dt="2024-01-11T11:28:59.398" v="309" actId="14100"/>
          <ac:spMkLst>
            <pc:docMk/>
            <pc:sldMk cId="529972285" sldId="275"/>
            <ac:spMk id="7" creationId="{B658B8C0-E9E6-558B-7F5E-130975D9363F}"/>
          </ac:spMkLst>
        </pc:spChg>
        <pc:spChg chg="mod">
          <ac:chgData name="Ana Blasi Sanchiz" userId="ade4f707-3308-4888-b575-5e32ac6efcc8" providerId="ADAL" clId="{E1CADF8E-9C95-4393-B328-B680AC11CCFC}" dt="2024-01-17T10:48:39.311" v="445" actId="790"/>
          <ac:spMkLst>
            <pc:docMk/>
            <pc:sldMk cId="529972285" sldId="275"/>
            <ac:spMk id="8" creationId="{034EC20E-2D16-8553-EF5F-65F2F2A14AFD}"/>
          </ac:spMkLst>
        </pc:spChg>
        <pc:spChg chg="add del mod">
          <ac:chgData name="Ana Blasi Sanchiz" userId="ade4f707-3308-4888-b575-5e32ac6efcc8" providerId="ADAL" clId="{E1CADF8E-9C95-4393-B328-B680AC11CCFC}" dt="2024-01-10T15:44:18.464" v="32" actId="478"/>
          <ac:spMkLst>
            <pc:docMk/>
            <pc:sldMk cId="529972285" sldId="275"/>
            <ac:spMk id="8" creationId="{E608AFD8-AB39-5DC3-7389-F54B8400F62E}"/>
          </ac:spMkLst>
        </pc:spChg>
        <pc:spChg chg="mod">
          <ac:chgData name="Ana Blasi Sanchiz" userId="ade4f707-3308-4888-b575-5e32ac6efcc8" providerId="ADAL" clId="{E1CADF8E-9C95-4393-B328-B680AC11CCFC}" dt="2024-01-17T10:50:10.261" v="545"/>
          <ac:spMkLst>
            <pc:docMk/>
            <pc:sldMk cId="529972285" sldId="275"/>
            <ac:spMk id="9" creationId="{515E845B-F6F4-E9BB-4FCF-C7327270E67C}"/>
          </ac:spMkLst>
        </pc:spChg>
        <pc:spChg chg="mod">
          <ac:chgData name="Ana Blasi Sanchiz" userId="ade4f707-3308-4888-b575-5e32ac6efcc8" providerId="ADAL" clId="{E1CADF8E-9C95-4393-B328-B680AC11CCFC}" dt="2024-01-17T10:50:10.261" v="545"/>
          <ac:spMkLst>
            <pc:docMk/>
            <pc:sldMk cId="529972285" sldId="275"/>
            <ac:spMk id="10" creationId="{26BCA1E6-1F97-19E8-41FE-3B5060F325E0}"/>
          </ac:spMkLst>
        </pc:spChg>
        <pc:spChg chg="add del mod">
          <ac:chgData name="Ana Blasi Sanchiz" userId="ade4f707-3308-4888-b575-5e32ac6efcc8" providerId="ADAL" clId="{E1CADF8E-9C95-4393-B328-B680AC11CCFC}" dt="2024-01-11T11:29:04.605" v="311" actId="478"/>
          <ac:spMkLst>
            <pc:docMk/>
            <pc:sldMk cId="529972285" sldId="275"/>
            <ac:spMk id="10" creationId="{649FDDA8-3E7D-38EE-0DE6-AC1445EFF934}"/>
          </ac:spMkLst>
        </pc:spChg>
        <pc:spChg chg="add del mod">
          <ac:chgData name="Ana Blasi Sanchiz" userId="ade4f707-3308-4888-b575-5e32ac6efcc8" providerId="ADAL" clId="{E1CADF8E-9C95-4393-B328-B680AC11CCFC}" dt="2024-01-10T15:44:18.464" v="32" actId="478"/>
          <ac:spMkLst>
            <pc:docMk/>
            <pc:sldMk cId="529972285" sldId="275"/>
            <ac:spMk id="10" creationId="{D198A368-266D-2296-36F5-7E5890BE9FE3}"/>
          </ac:spMkLst>
        </pc:spChg>
        <pc:spChg chg="add del mod">
          <ac:chgData name="Ana Blasi Sanchiz" userId="ade4f707-3308-4888-b575-5e32ac6efcc8" providerId="ADAL" clId="{E1CADF8E-9C95-4393-B328-B680AC11CCFC}" dt="2024-01-10T15:44:12.705" v="30" actId="478"/>
          <ac:spMkLst>
            <pc:docMk/>
            <pc:sldMk cId="529972285" sldId="275"/>
            <ac:spMk id="11" creationId="{7B4A170E-0CAF-69E5-F75C-1868D8948F29}"/>
          </ac:spMkLst>
        </pc:spChg>
        <pc:spChg chg="mod">
          <ac:chgData name="Ana Blasi Sanchiz" userId="ade4f707-3308-4888-b575-5e32ac6efcc8" providerId="ADAL" clId="{E1CADF8E-9C95-4393-B328-B680AC11CCFC}" dt="2024-01-17T10:50:12.577" v="547"/>
          <ac:spMkLst>
            <pc:docMk/>
            <pc:sldMk cId="529972285" sldId="275"/>
            <ac:spMk id="12" creationId="{6B645D97-08B4-2538-A4A0-2361FB3075D2}"/>
          </ac:spMkLst>
        </pc:spChg>
        <pc:spChg chg="add del mod">
          <ac:chgData name="Ana Blasi Sanchiz" userId="ade4f707-3308-4888-b575-5e32ac6efcc8" providerId="ADAL" clId="{E1CADF8E-9C95-4393-B328-B680AC11CCFC}" dt="2024-01-10T15:44:12.705" v="30" actId="478"/>
          <ac:spMkLst>
            <pc:docMk/>
            <pc:sldMk cId="529972285" sldId="275"/>
            <ac:spMk id="12" creationId="{839C9304-2731-D976-F555-66F89A3A3CD5}"/>
          </ac:spMkLst>
        </pc:spChg>
        <pc:spChg chg="mod">
          <ac:chgData name="Ana Blasi Sanchiz" userId="ade4f707-3308-4888-b575-5e32ac6efcc8" providerId="ADAL" clId="{E1CADF8E-9C95-4393-B328-B680AC11CCFC}" dt="2024-01-17T10:50:12.577" v="547"/>
          <ac:spMkLst>
            <pc:docMk/>
            <pc:sldMk cId="529972285" sldId="275"/>
            <ac:spMk id="13" creationId="{19AE9F42-BFC1-222E-F9B8-02F81778EC7B}"/>
          </ac:spMkLst>
        </pc:spChg>
        <pc:spChg chg="add del mod">
          <ac:chgData name="Ana Blasi Sanchiz" userId="ade4f707-3308-4888-b575-5e32ac6efcc8" providerId="ADAL" clId="{E1CADF8E-9C95-4393-B328-B680AC11CCFC}" dt="2024-01-10T15:44:12.705" v="30" actId="478"/>
          <ac:spMkLst>
            <pc:docMk/>
            <pc:sldMk cId="529972285" sldId="275"/>
            <ac:spMk id="13" creationId="{6E5658B1-70E3-4F6F-A887-036E2A94DC8C}"/>
          </ac:spMkLst>
        </pc:spChg>
        <pc:spChg chg="add del mod">
          <ac:chgData name="Ana Blasi Sanchiz" userId="ade4f707-3308-4888-b575-5e32ac6efcc8" providerId="ADAL" clId="{E1CADF8E-9C95-4393-B328-B680AC11CCFC}" dt="2024-01-10T15:44:29.248" v="34" actId="478"/>
          <ac:spMkLst>
            <pc:docMk/>
            <pc:sldMk cId="529972285" sldId="275"/>
            <ac:spMk id="15" creationId="{F9114A57-19E6-AD61-B7C5-3DFCA7A2DBA1}"/>
          </ac:spMkLst>
        </pc:spChg>
        <pc:spChg chg="add del mod">
          <ac:chgData name="Ana Blasi Sanchiz" userId="ade4f707-3308-4888-b575-5e32ac6efcc8" providerId="ADAL" clId="{E1CADF8E-9C95-4393-B328-B680AC11CCFC}" dt="2024-01-10T15:44:29.248" v="34" actId="478"/>
          <ac:spMkLst>
            <pc:docMk/>
            <pc:sldMk cId="529972285" sldId="275"/>
            <ac:spMk id="17" creationId="{1301DC41-BA51-9910-7395-FE4A921EDEFB}"/>
          </ac:spMkLst>
        </pc:spChg>
        <pc:spChg chg="add del mod">
          <ac:chgData name="Ana Blasi Sanchiz" userId="ade4f707-3308-4888-b575-5e32ac6efcc8" providerId="ADAL" clId="{E1CADF8E-9C95-4393-B328-B680AC11CCFC}" dt="2024-01-10T15:44:29.248" v="34" actId="478"/>
          <ac:spMkLst>
            <pc:docMk/>
            <pc:sldMk cId="529972285" sldId="275"/>
            <ac:spMk id="19" creationId="{4BFCA8F3-3757-F0BF-C469-E66A5E219C6D}"/>
          </ac:spMkLst>
        </pc:spChg>
        <pc:spChg chg="add del mod">
          <ac:chgData name="Ana Blasi Sanchiz" userId="ade4f707-3308-4888-b575-5e32ac6efcc8" providerId="ADAL" clId="{E1CADF8E-9C95-4393-B328-B680AC11CCFC}" dt="2024-01-10T15:44:29.248" v="34" actId="478"/>
          <ac:spMkLst>
            <pc:docMk/>
            <pc:sldMk cId="529972285" sldId="275"/>
            <ac:spMk id="21" creationId="{E164FB53-8B78-D4E3-8630-44E096CF6395}"/>
          </ac:spMkLst>
        </pc:spChg>
        <pc:spChg chg="mod">
          <ac:chgData name="Ana Blasi Sanchiz" userId="ade4f707-3308-4888-b575-5e32ac6efcc8" providerId="ADAL" clId="{E1CADF8E-9C95-4393-B328-B680AC11CCFC}" dt="2024-01-16T21:01:00.929" v="399"/>
          <ac:spMkLst>
            <pc:docMk/>
            <pc:sldMk cId="529972285" sldId="275"/>
            <ac:spMk id="22" creationId="{6AF98553-940A-31DD-9C31-E1DC639E2966}"/>
          </ac:spMkLst>
        </pc:spChg>
        <pc:spChg chg="del">
          <ac:chgData name="Ana Blasi Sanchiz" userId="ade4f707-3308-4888-b575-5e32ac6efcc8" providerId="ADAL" clId="{E1CADF8E-9C95-4393-B328-B680AC11CCFC}" dt="2024-01-11T11:27:15.720" v="288" actId="478"/>
          <ac:spMkLst>
            <pc:docMk/>
            <pc:sldMk cId="529972285" sldId="275"/>
            <ac:spMk id="23" creationId="{CA050367-3F8E-69D7-EC9B-67BF5899EB43}"/>
          </ac:spMkLst>
        </pc:spChg>
        <pc:spChg chg="del">
          <ac:chgData name="Ana Blasi Sanchiz" userId="ade4f707-3308-4888-b575-5e32ac6efcc8" providerId="ADAL" clId="{E1CADF8E-9C95-4393-B328-B680AC11CCFC}" dt="2024-01-10T15:44:07.763" v="28" actId="478"/>
          <ac:spMkLst>
            <pc:docMk/>
            <pc:sldMk cId="529972285" sldId="275"/>
            <ac:spMk id="24" creationId="{9DEDE2AE-5453-6753-E003-B176A63C681E}"/>
          </ac:spMkLst>
        </pc:spChg>
        <pc:spChg chg="del">
          <ac:chgData name="Ana Blasi Sanchiz" userId="ade4f707-3308-4888-b575-5e32ac6efcc8" providerId="ADAL" clId="{E1CADF8E-9C95-4393-B328-B680AC11CCFC}" dt="2024-01-10T15:44:07.763" v="28" actId="478"/>
          <ac:spMkLst>
            <pc:docMk/>
            <pc:sldMk cId="529972285" sldId="275"/>
            <ac:spMk id="25" creationId="{8232D84E-4F7D-C2AC-0E01-FF225A644F18}"/>
          </ac:spMkLst>
        </pc:spChg>
        <pc:spChg chg="del">
          <ac:chgData name="Ana Blasi Sanchiz" userId="ade4f707-3308-4888-b575-5e32ac6efcc8" providerId="ADAL" clId="{E1CADF8E-9C95-4393-B328-B680AC11CCFC}" dt="2024-01-10T15:44:07.763" v="28" actId="478"/>
          <ac:spMkLst>
            <pc:docMk/>
            <pc:sldMk cId="529972285" sldId="275"/>
            <ac:spMk id="26" creationId="{F66FAA1B-3E50-B945-2D24-16707B73C5BD}"/>
          </ac:spMkLst>
        </pc:spChg>
        <pc:spChg chg="del mod">
          <ac:chgData name="Ana Blasi Sanchiz" userId="ade4f707-3308-4888-b575-5e32ac6efcc8" providerId="ADAL" clId="{E1CADF8E-9C95-4393-B328-B680AC11CCFC}" dt="2024-01-11T11:29:02.637" v="310" actId="478"/>
          <ac:spMkLst>
            <pc:docMk/>
            <pc:sldMk cId="529972285" sldId="275"/>
            <ac:spMk id="27" creationId="{4BAE472A-3895-CEF0-161F-70238AB06560}"/>
          </ac:spMkLst>
        </pc:spChg>
        <pc:spChg chg="del">
          <ac:chgData name="Ana Blasi Sanchiz" userId="ade4f707-3308-4888-b575-5e32ac6efcc8" providerId="ADAL" clId="{E1CADF8E-9C95-4393-B328-B680AC11CCFC}" dt="2024-01-10T15:44:07.763" v="28" actId="478"/>
          <ac:spMkLst>
            <pc:docMk/>
            <pc:sldMk cId="529972285" sldId="275"/>
            <ac:spMk id="28" creationId="{BAC4507E-6A7B-2168-D562-1A5D1C7C42F0}"/>
          </ac:spMkLst>
        </pc:spChg>
        <pc:spChg chg="del">
          <ac:chgData name="Ana Blasi Sanchiz" userId="ade4f707-3308-4888-b575-5e32ac6efcc8" providerId="ADAL" clId="{E1CADF8E-9C95-4393-B328-B680AC11CCFC}" dt="2024-01-10T15:44:07.763" v="28" actId="478"/>
          <ac:spMkLst>
            <pc:docMk/>
            <pc:sldMk cId="529972285" sldId="275"/>
            <ac:spMk id="29" creationId="{38667697-4853-D02B-2CE0-5A39A1A49C45}"/>
          </ac:spMkLst>
        </pc:spChg>
        <pc:spChg chg="del">
          <ac:chgData name="Ana Blasi Sanchiz" userId="ade4f707-3308-4888-b575-5e32ac6efcc8" providerId="ADAL" clId="{E1CADF8E-9C95-4393-B328-B680AC11CCFC}" dt="2024-01-10T15:44:07.763" v="28" actId="478"/>
          <ac:spMkLst>
            <pc:docMk/>
            <pc:sldMk cId="529972285" sldId="275"/>
            <ac:spMk id="30" creationId="{DA061AD7-B3D0-9D16-8DAD-560C6C2E20D9}"/>
          </ac:spMkLst>
        </pc:spChg>
        <pc:spChg chg="del">
          <ac:chgData name="Ana Blasi Sanchiz" userId="ade4f707-3308-4888-b575-5e32ac6efcc8" providerId="ADAL" clId="{E1CADF8E-9C95-4393-B328-B680AC11CCFC}" dt="2024-01-10T15:44:21.865" v="33" actId="478"/>
          <ac:spMkLst>
            <pc:docMk/>
            <pc:sldMk cId="529972285" sldId="275"/>
            <ac:spMk id="31" creationId="{5512F843-5C89-1A01-6AED-6F23C2418A87}"/>
          </ac:spMkLst>
        </pc:spChg>
        <pc:spChg chg="del">
          <ac:chgData name="Ana Blasi Sanchiz" userId="ade4f707-3308-4888-b575-5e32ac6efcc8" providerId="ADAL" clId="{E1CADF8E-9C95-4393-B328-B680AC11CCFC}" dt="2024-01-10T15:44:07.763" v="28" actId="478"/>
          <ac:spMkLst>
            <pc:docMk/>
            <pc:sldMk cId="529972285" sldId="275"/>
            <ac:spMk id="32" creationId="{8591C66C-FDBE-F462-08CA-3360E56DB4C8}"/>
          </ac:spMkLst>
        </pc:spChg>
        <pc:spChg chg="del">
          <ac:chgData name="Ana Blasi Sanchiz" userId="ade4f707-3308-4888-b575-5e32ac6efcc8" providerId="ADAL" clId="{E1CADF8E-9C95-4393-B328-B680AC11CCFC}" dt="2024-01-10T15:44:07.763" v="28" actId="478"/>
          <ac:spMkLst>
            <pc:docMk/>
            <pc:sldMk cId="529972285" sldId="275"/>
            <ac:spMk id="33" creationId="{061ED7C8-09F4-060B-EB1D-5FC5E582FE0F}"/>
          </ac:spMkLst>
        </pc:spChg>
        <pc:spChg chg="del">
          <ac:chgData name="Ana Blasi Sanchiz" userId="ade4f707-3308-4888-b575-5e32ac6efcc8" providerId="ADAL" clId="{E1CADF8E-9C95-4393-B328-B680AC11CCFC}" dt="2024-01-10T15:44:07.763" v="28" actId="478"/>
          <ac:spMkLst>
            <pc:docMk/>
            <pc:sldMk cId="529972285" sldId="275"/>
            <ac:spMk id="34" creationId="{05981E87-AD0F-AD01-35AA-7B3CCC4475A2}"/>
          </ac:spMkLst>
        </pc:spChg>
        <pc:spChg chg="del">
          <ac:chgData name="Ana Blasi Sanchiz" userId="ade4f707-3308-4888-b575-5e32ac6efcc8" providerId="ADAL" clId="{E1CADF8E-9C95-4393-B328-B680AC11CCFC}" dt="2024-01-10T15:44:21.865" v="33" actId="478"/>
          <ac:spMkLst>
            <pc:docMk/>
            <pc:sldMk cId="529972285" sldId="275"/>
            <ac:spMk id="35" creationId="{F154A35A-5716-90F7-30A9-B1C8F0BECB92}"/>
          </ac:spMkLst>
        </pc:spChg>
        <pc:spChg chg="del">
          <ac:chgData name="Ana Blasi Sanchiz" userId="ade4f707-3308-4888-b575-5e32ac6efcc8" providerId="ADAL" clId="{E1CADF8E-9C95-4393-B328-B680AC11CCFC}" dt="2024-01-10T15:44:21.865" v="33" actId="478"/>
          <ac:spMkLst>
            <pc:docMk/>
            <pc:sldMk cId="529972285" sldId="275"/>
            <ac:spMk id="36" creationId="{3E36FED8-1587-8F17-2293-C9EEDDC361A4}"/>
          </ac:spMkLst>
        </pc:spChg>
        <pc:spChg chg="del">
          <ac:chgData name="Ana Blasi Sanchiz" userId="ade4f707-3308-4888-b575-5e32ac6efcc8" providerId="ADAL" clId="{E1CADF8E-9C95-4393-B328-B680AC11CCFC}" dt="2024-01-10T15:44:21.865" v="33" actId="478"/>
          <ac:spMkLst>
            <pc:docMk/>
            <pc:sldMk cId="529972285" sldId="275"/>
            <ac:spMk id="37" creationId="{DED04B3D-D046-CDB3-65F8-6D4EA4D37AB2}"/>
          </ac:spMkLst>
        </pc:spChg>
        <pc:spChg chg="del">
          <ac:chgData name="Ana Blasi Sanchiz" userId="ade4f707-3308-4888-b575-5e32ac6efcc8" providerId="ADAL" clId="{E1CADF8E-9C95-4393-B328-B680AC11CCFC}" dt="2024-01-10T15:44:21.865" v="33" actId="478"/>
          <ac:spMkLst>
            <pc:docMk/>
            <pc:sldMk cId="529972285" sldId="275"/>
            <ac:spMk id="38" creationId="{25E60E65-18B1-2E5B-5A1C-D218B8C05EE8}"/>
          </ac:spMkLst>
        </pc:spChg>
        <pc:grpChg chg="add del mod">
          <ac:chgData name="Ana Blasi Sanchiz" userId="ade4f707-3308-4888-b575-5e32ac6efcc8" providerId="ADAL" clId="{E1CADF8E-9C95-4393-B328-B680AC11CCFC}" dt="2024-01-17T10:50:18.834" v="552"/>
          <ac:grpSpMkLst>
            <pc:docMk/>
            <pc:sldMk cId="529972285" sldId="275"/>
            <ac:grpSpMk id="2" creationId="{CED020F8-0C28-C67D-5019-3CA3B16B52DD}"/>
          </ac:grpSpMkLst>
        </pc:grpChg>
        <pc:grpChg chg="add mod">
          <ac:chgData name="Ana Blasi Sanchiz" userId="ade4f707-3308-4888-b575-5e32ac6efcc8" providerId="ADAL" clId="{E1CADF8E-9C95-4393-B328-B680AC11CCFC}" dt="2024-01-11T11:29:11.235" v="313" actId="1076"/>
          <ac:grpSpMkLst>
            <pc:docMk/>
            <pc:sldMk cId="529972285" sldId="275"/>
            <ac:grpSpMk id="6" creationId="{E2CF2F3B-E24B-81BE-06EC-2E56B2A9CBD2}"/>
          </ac:grpSpMkLst>
        </pc:grpChg>
        <pc:grpChg chg="add del mod">
          <ac:chgData name="Ana Blasi Sanchiz" userId="ade4f707-3308-4888-b575-5e32ac6efcc8" providerId="ADAL" clId="{E1CADF8E-9C95-4393-B328-B680AC11CCFC}" dt="2024-01-17T10:50:17.218" v="550"/>
          <ac:grpSpMkLst>
            <pc:docMk/>
            <pc:sldMk cId="529972285" sldId="275"/>
            <ac:grpSpMk id="11" creationId="{9B6C09F1-08EE-4A5D-F496-2E1D68F6867B}"/>
          </ac:grpSpMkLst>
        </pc:grpChg>
      </pc:sldChg>
      <pc:sldChg chg="ord">
        <pc:chgData name="Ana Blasi Sanchiz" userId="ade4f707-3308-4888-b575-5e32ac6efcc8" providerId="ADAL" clId="{E1CADF8E-9C95-4393-B328-B680AC11CCFC}" dt="2024-01-23T11:35:15.746" v="985"/>
        <pc:sldMkLst>
          <pc:docMk/>
          <pc:sldMk cId="1360414919" sldId="276"/>
        </pc:sldMkLst>
      </pc:sldChg>
      <pc:sldChg chg="modSp mod ord">
        <pc:chgData name="Ana Blasi Sanchiz" userId="ade4f707-3308-4888-b575-5e32ac6efcc8" providerId="ADAL" clId="{E1CADF8E-9C95-4393-B328-B680AC11CCFC}" dt="2024-01-16T21:00:54.640" v="397"/>
        <pc:sldMkLst>
          <pc:docMk/>
          <pc:sldMk cId="4218186888" sldId="277"/>
        </pc:sldMkLst>
        <pc:spChg chg="mod">
          <ac:chgData name="Ana Blasi Sanchiz" userId="ade4f707-3308-4888-b575-5e32ac6efcc8" providerId="ADAL" clId="{E1CADF8E-9C95-4393-B328-B680AC11CCFC}" dt="2024-01-16T21:00:54.640" v="397"/>
          <ac:spMkLst>
            <pc:docMk/>
            <pc:sldMk cId="4218186888" sldId="277"/>
            <ac:spMk id="2" creationId="{3FA95D98-52CB-21A3-D747-18E605697288}"/>
          </ac:spMkLst>
        </pc:spChg>
      </pc:sldChg>
      <pc:sldChg chg="modSp mod ord">
        <pc:chgData name="Ana Blasi Sanchiz" userId="ade4f707-3308-4888-b575-5e32ac6efcc8" providerId="ADAL" clId="{E1CADF8E-9C95-4393-B328-B680AC11CCFC}" dt="2024-01-16T21:00:57.597" v="398"/>
        <pc:sldMkLst>
          <pc:docMk/>
          <pc:sldMk cId="530924720" sldId="278"/>
        </pc:sldMkLst>
        <pc:spChg chg="mod">
          <ac:chgData name="Ana Blasi Sanchiz" userId="ade4f707-3308-4888-b575-5e32ac6efcc8" providerId="ADAL" clId="{E1CADF8E-9C95-4393-B328-B680AC11CCFC}" dt="2024-01-16T21:00:57.597" v="398"/>
          <ac:spMkLst>
            <pc:docMk/>
            <pc:sldMk cId="530924720" sldId="278"/>
            <ac:spMk id="2" creationId="{D54055D9-5C52-D071-9787-B2B823017423}"/>
          </ac:spMkLst>
        </pc:spChg>
      </pc:sldChg>
      <pc:sldChg chg="addSp modSp mod">
        <pc:chgData name="Ana Blasi Sanchiz" userId="ade4f707-3308-4888-b575-5e32ac6efcc8" providerId="ADAL" clId="{E1CADF8E-9C95-4393-B328-B680AC11CCFC}" dt="2024-01-18T18:06:23.380" v="679" actId="14100"/>
        <pc:sldMkLst>
          <pc:docMk/>
          <pc:sldMk cId="516308081" sldId="279"/>
        </pc:sldMkLst>
        <pc:spChg chg="mod">
          <ac:chgData name="Ana Blasi Sanchiz" userId="ade4f707-3308-4888-b575-5e32ac6efcc8" providerId="ADAL" clId="{E1CADF8E-9C95-4393-B328-B680AC11CCFC}" dt="2024-01-18T18:06:23.380" v="679" actId="14100"/>
          <ac:spMkLst>
            <pc:docMk/>
            <pc:sldMk cId="516308081" sldId="279"/>
            <ac:spMk id="14" creationId="{58781140-5718-FE3D-004F-89F35F818D15}"/>
          </ac:spMkLst>
        </pc:spChg>
        <pc:spChg chg="mod">
          <ac:chgData name="Ana Blasi Sanchiz" userId="ade4f707-3308-4888-b575-5e32ac6efcc8" providerId="ADAL" clId="{E1CADF8E-9C95-4393-B328-B680AC11CCFC}" dt="2024-01-18T17:22:43.057" v="659" actId="164"/>
          <ac:spMkLst>
            <pc:docMk/>
            <pc:sldMk cId="516308081" sldId="279"/>
            <ac:spMk id="20" creationId="{1E3FE653-497C-618E-8DB9-498A0741611B}"/>
          </ac:spMkLst>
        </pc:spChg>
        <pc:grpChg chg="add mod">
          <ac:chgData name="Ana Blasi Sanchiz" userId="ade4f707-3308-4888-b575-5e32ac6efcc8" providerId="ADAL" clId="{E1CADF8E-9C95-4393-B328-B680AC11CCFC}" dt="2024-01-18T17:22:43.057" v="659" actId="164"/>
          <ac:grpSpMkLst>
            <pc:docMk/>
            <pc:sldMk cId="516308081" sldId="279"/>
            <ac:grpSpMk id="6" creationId="{3C6BAB5B-5179-DB3E-B506-6B34B6C1F23A}"/>
          </ac:grpSpMkLst>
        </pc:grpChg>
      </pc:sldChg>
      <pc:sldChg chg="addSp modSp mod">
        <pc:chgData name="Ana Blasi Sanchiz" userId="ade4f707-3308-4888-b575-5e32ac6efcc8" providerId="ADAL" clId="{E1CADF8E-9C95-4393-B328-B680AC11CCFC}" dt="2024-01-18T17:57:04.208" v="677" actId="20577"/>
        <pc:sldMkLst>
          <pc:docMk/>
          <pc:sldMk cId="4100753210" sldId="280"/>
        </pc:sldMkLst>
        <pc:spChg chg="mod">
          <ac:chgData name="Ana Blasi Sanchiz" userId="ade4f707-3308-4888-b575-5e32ac6efcc8" providerId="ADAL" clId="{E1CADF8E-9C95-4393-B328-B680AC11CCFC}" dt="2024-01-18T17:56:12.127" v="660" actId="164"/>
          <ac:spMkLst>
            <pc:docMk/>
            <pc:sldMk cId="4100753210" sldId="280"/>
            <ac:spMk id="13" creationId="{1C5746C2-B918-C52E-15C0-DB42D2E64691}"/>
          </ac:spMkLst>
        </pc:spChg>
        <pc:spChg chg="mod">
          <ac:chgData name="Ana Blasi Sanchiz" userId="ade4f707-3308-4888-b575-5e32ac6efcc8" providerId="ADAL" clId="{E1CADF8E-9C95-4393-B328-B680AC11CCFC}" dt="2024-01-18T17:57:04.208" v="677" actId="20577"/>
          <ac:spMkLst>
            <pc:docMk/>
            <pc:sldMk cId="4100753210" sldId="280"/>
            <ac:spMk id="16" creationId="{ABC691FE-C4EF-FD99-D741-06D25D57D160}"/>
          </ac:spMkLst>
        </pc:spChg>
        <pc:grpChg chg="add mod">
          <ac:chgData name="Ana Blasi Sanchiz" userId="ade4f707-3308-4888-b575-5e32ac6efcc8" providerId="ADAL" clId="{E1CADF8E-9C95-4393-B328-B680AC11CCFC}" dt="2024-01-18T17:56:14.614" v="661" actId="1076"/>
          <ac:grpSpMkLst>
            <pc:docMk/>
            <pc:sldMk cId="4100753210" sldId="280"/>
            <ac:grpSpMk id="6" creationId="{A6708BFB-0D54-AB26-644B-0AAFEFAB397B}"/>
          </ac:grpSpMkLst>
        </pc:grpChg>
      </pc:sldChg>
      <pc:sldChg chg="modSp mod">
        <pc:chgData name="Ana Blasi Sanchiz" userId="ade4f707-3308-4888-b575-5e32ac6efcc8" providerId="ADAL" clId="{E1CADF8E-9C95-4393-B328-B680AC11CCFC}" dt="2024-01-18T17:56:31.894" v="664" actId="14100"/>
        <pc:sldMkLst>
          <pc:docMk/>
          <pc:sldMk cId="2222758193" sldId="282"/>
        </pc:sldMkLst>
        <pc:graphicFrameChg chg="mod modGraphic">
          <ac:chgData name="Ana Blasi Sanchiz" userId="ade4f707-3308-4888-b575-5e32ac6efcc8" providerId="ADAL" clId="{E1CADF8E-9C95-4393-B328-B680AC11CCFC}" dt="2024-01-18T17:56:31.894" v="664" actId="14100"/>
          <ac:graphicFrameMkLst>
            <pc:docMk/>
            <pc:sldMk cId="2222758193" sldId="282"/>
            <ac:graphicFrameMk id="16" creationId="{0D535A8F-0267-D9E8-06E0-D09979048D43}"/>
          </ac:graphicFrameMkLst>
        </pc:graphicFrameChg>
      </pc:sldChg>
      <pc:sldChg chg="addSp delSp modSp mod">
        <pc:chgData name="Ana Blasi Sanchiz" userId="ade4f707-3308-4888-b575-5e32ac6efcc8" providerId="ADAL" clId="{E1CADF8E-9C95-4393-B328-B680AC11CCFC}" dt="2024-01-23T12:18:13.576" v="1031" actId="14100"/>
        <pc:sldMkLst>
          <pc:docMk/>
          <pc:sldMk cId="1994944248" sldId="2147480859"/>
        </pc:sldMkLst>
        <pc:spChg chg="add mod">
          <ac:chgData name="Ana Blasi Sanchiz" userId="ade4f707-3308-4888-b575-5e32ac6efcc8" providerId="ADAL" clId="{E1CADF8E-9C95-4393-B328-B680AC11CCFC}" dt="2024-01-23T12:17:30.129" v="1024" actId="208"/>
          <ac:spMkLst>
            <pc:docMk/>
            <pc:sldMk cId="1994944248" sldId="2147480859"/>
            <ac:spMk id="3" creationId="{CCBE3680-4488-751F-FB7F-675B16A02427}"/>
          </ac:spMkLst>
        </pc:spChg>
        <pc:spChg chg="mod">
          <ac:chgData name="Ana Blasi Sanchiz" userId="ade4f707-3308-4888-b575-5e32ac6efcc8" providerId="ADAL" clId="{E1CADF8E-9C95-4393-B328-B680AC11CCFC}" dt="2024-01-23T11:36:09.727" v="1018" actId="20577"/>
          <ac:spMkLst>
            <pc:docMk/>
            <pc:sldMk cId="1994944248" sldId="2147480859"/>
            <ac:spMk id="7" creationId="{B6B36DC8-06F5-C672-C177-28BE8EE38599}"/>
          </ac:spMkLst>
        </pc:spChg>
        <pc:spChg chg="mod">
          <ac:chgData name="Ana Blasi Sanchiz" userId="ade4f707-3308-4888-b575-5e32ac6efcc8" providerId="ADAL" clId="{E1CADF8E-9C95-4393-B328-B680AC11CCFC}" dt="2024-01-23T12:18:13.576" v="1031" actId="14100"/>
          <ac:spMkLst>
            <pc:docMk/>
            <pc:sldMk cId="1994944248" sldId="2147480859"/>
            <ac:spMk id="9" creationId="{F77CE35A-3461-85BC-B7B1-C2F65148C3A4}"/>
          </ac:spMkLst>
        </pc:spChg>
        <pc:spChg chg="del">
          <ac:chgData name="Ana Blasi Sanchiz" userId="ade4f707-3308-4888-b575-5e32ac6efcc8" providerId="ADAL" clId="{E1CADF8E-9C95-4393-B328-B680AC11CCFC}" dt="2024-01-23T12:18:09.951" v="1030" actId="478"/>
          <ac:spMkLst>
            <pc:docMk/>
            <pc:sldMk cId="1994944248" sldId="2147480859"/>
            <ac:spMk id="19" creationId="{22898AE7-B4DC-D471-BA54-44E228FAD572}"/>
          </ac:spMkLst>
        </pc:spChg>
        <pc:spChg chg="del">
          <ac:chgData name="Ana Blasi Sanchiz" userId="ade4f707-3308-4888-b575-5e32ac6efcc8" providerId="ADAL" clId="{E1CADF8E-9C95-4393-B328-B680AC11CCFC}" dt="2024-01-23T12:17:49.131" v="1026" actId="478"/>
          <ac:spMkLst>
            <pc:docMk/>
            <pc:sldMk cId="1994944248" sldId="2147480859"/>
            <ac:spMk id="20" creationId="{F383E20A-ED3E-483C-DB19-6CA1D72FBF23}"/>
          </ac:spMkLst>
        </pc:spChg>
        <pc:spChg chg="del">
          <ac:chgData name="Ana Blasi Sanchiz" userId="ade4f707-3308-4888-b575-5e32ac6efcc8" providerId="ADAL" clId="{E1CADF8E-9C95-4393-B328-B680AC11CCFC}" dt="2024-01-23T12:17:56.552" v="1027" actId="478"/>
          <ac:spMkLst>
            <pc:docMk/>
            <pc:sldMk cId="1994944248" sldId="2147480859"/>
            <ac:spMk id="23" creationId="{AE7CAABE-1D0B-6841-E492-5F8A295BEB29}"/>
          </ac:spMkLst>
        </pc:spChg>
        <pc:spChg chg="del">
          <ac:chgData name="Ana Blasi Sanchiz" userId="ade4f707-3308-4888-b575-5e32ac6efcc8" providerId="ADAL" clId="{E1CADF8E-9C95-4393-B328-B680AC11CCFC}" dt="2024-01-23T12:17:56.552" v="1027" actId="478"/>
          <ac:spMkLst>
            <pc:docMk/>
            <pc:sldMk cId="1994944248" sldId="2147480859"/>
            <ac:spMk id="24" creationId="{139B1143-177A-066C-BFB1-146B0CB520B6}"/>
          </ac:spMkLst>
        </pc:spChg>
        <pc:spChg chg="del">
          <ac:chgData name="Ana Blasi Sanchiz" userId="ade4f707-3308-4888-b575-5e32ac6efcc8" providerId="ADAL" clId="{E1CADF8E-9C95-4393-B328-B680AC11CCFC}" dt="2024-01-23T12:17:56.552" v="1027" actId="478"/>
          <ac:spMkLst>
            <pc:docMk/>
            <pc:sldMk cId="1994944248" sldId="2147480859"/>
            <ac:spMk id="25" creationId="{A7152A6D-E6EA-B185-6133-55C7712EB542}"/>
          </ac:spMkLst>
        </pc:spChg>
        <pc:spChg chg="del">
          <ac:chgData name="Ana Blasi Sanchiz" userId="ade4f707-3308-4888-b575-5e32ac6efcc8" providerId="ADAL" clId="{E1CADF8E-9C95-4393-B328-B680AC11CCFC}" dt="2024-01-23T12:17:56.552" v="1027" actId="478"/>
          <ac:spMkLst>
            <pc:docMk/>
            <pc:sldMk cId="1994944248" sldId="2147480859"/>
            <ac:spMk id="26" creationId="{008DB3C2-0034-9B9D-46A2-F481F7FE907C}"/>
          </ac:spMkLst>
        </pc:spChg>
        <pc:spChg chg="del">
          <ac:chgData name="Ana Blasi Sanchiz" userId="ade4f707-3308-4888-b575-5e32ac6efcc8" providerId="ADAL" clId="{E1CADF8E-9C95-4393-B328-B680AC11CCFC}" dt="2024-01-23T12:17:56.552" v="1027" actId="478"/>
          <ac:spMkLst>
            <pc:docMk/>
            <pc:sldMk cId="1994944248" sldId="2147480859"/>
            <ac:spMk id="27" creationId="{BD75F010-CC96-04B8-CDFD-99EE06FFD8FE}"/>
          </ac:spMkLst>
        </pc:spChg>
        <pc:spChg chg="del">
          <ac:chgData name="Ana Blasi Sanchiz" userId="ade4f707-3308-4888-b575-5e32ac6efcc8" providerId="ADAL" clId="{E1CADF8E-9C95-4393-B328-B680AC11CCFC}" dt="2024-01-23T12:17:56.552" v="1027" actId="478"/>
          <ac:spMkLst>
            <pc:docMk/>
            <pc:sldMk cId="1994944248" sldId="2147480859"/>
            <ac:spMk id="28" creationId="{2BF68634-C830-420B-51D2-DD53EB36A1BE}"/>
          </ac:spMkLst>
        </pc:spChg>
        <pc:spChg chg="del">
          <ac:chgData name="Ana Blasi Sanchiz" userId="ade4f707-3308-4888-b575-5e32ac6efcc8" providerId="ADAL" clId="{E1CADF8E-9C95-4393-B328-B680AC11CCFC}" dt="2024-01-23T12:17:56.552" v="1027" actId="478"/>
          <ac:spMkLst>
            <pc:docMk/>
            <pc:sldMk cId="1994944248" sldId="2147480859"/>
            <ac:spMk id="29" creationId="{1764256F-19B5-7D32-8060-141B0F9B396C}"/>
          </ac:spMkLst>
        </pc:spChg>
        <pc:spChg chg="del">
          <ac:chgData name="Ana Blasi Sanchiz" userId="ade4f707-3308-4888-b575-5e32ac6efcc8" providerId="ADAL" clId="{E1CADF8E-9C95-4393-B328-B680AC11CCFC}" dt="2024-01-23T12:17:56.552" v="1027" actId="478"/>
          <ac:spMkLst>
            <pc:docMk/>
            <pc:sldMk cId="1994944248" sldId="2147480859"/>
            <ac:spMk id="30" creationId="{EA27B85D-34AF-8419-8863-F5CB39A16DD4}"/>
          </ac:spMkLst>
        </pc:spChg>
        <pc:spChg chg="del">
          <ac:chgData name="Ana Blasi Sanchiz" userId="ade4f707-3308-4888-b575-5e32ac6efcc8" providerId="ADAL" clId="{E1CADF8E-9C95-4393-B328-B680AC11CCFC}" dt="2024-01-23T12:17:56.552" v="1027" actId="478"/>
          <ac:spMkLst>
            <pc:docMk/>
            <pc:sldMk cId="1994944248" sldId="2147480859"/>
            <ac:spMk id="31" creationId="{1641A166-D730-771A-135A-834E1266A009}"/>
          </ac:spMkLst>
        </pc:spChg>
        <pc:spChg chg="del">
          <ac:chgData name="Ana Blasi Sanchiz" userId="ade4f707-3308-4888-b575-5e32ac6efcc8" providerId="ADAL" clId="{E1CADF8E-9C95-4393-B328-B680AC11CCFC}" dt="2024-01-23T12:17:56.552" v="1027" actId="478"/>
          <ac:spMkLst>
            <pc:docMk/>
            <pc:sldMk cId="1994944248" sldId="2147480859"/>
            <ac:spMk id="32" creationId="{C0CA58B9-AAB3-FFA1-5BB6-D47E44164552}"/>
          </ac:spMkLst>
        </pc:spChg>
        <pc:spChg chg="del">
          <ac:chgData name="Ana Blasi Sanchiz" userId="ade4f707-3308-4888-b575-5e32ac6efcc8" providerId="ADAL" clId="{E1CADF8E-9C95-4393-B328-B680AC11CCFC}" dt="2024-01-23T12:17:56.552" v="1027" actId="478"/>
          <ac:spMkLst>
            <pc:docMk/>
            <pc:sldMk cId="1994944248" sldId="2147480859"/>
            <ac:spMk id="33" creationId="{6DA52EB5-BA64-8BC1-59CB-77C711A89323}"/>
          </ac:spMkLst>
        </pc:spChg>
        <pc:spChg chg="del">
          <ac:chgData name="Ana Blasi Sanchiz" userId="ade4f707-3308-4888-b575-5e32ac6efcc8" providerId="ADAL" clId="{E1CADF8E-9C95-4393-B328-B680AC11CCFC}" dt="2024-01-23T12:17:56.552" v="1027" actId="478"/>
          <ac:spMkLst>
            <pc:docMk/>
            <pc:sldMk cId="1994944248" sldId="2147480859"/>
            <ac:spMk id="34" creationId="{1A6C8C61-5947-A2B7-B393-FD105B4DBB02}"/>
          </ac:spMkLst>
        </pc:spChg>
        <pc:spChg chg="del mod">
          <ac:chgData name="Ana Blasi Sanchiz" userId="ade4f707-3308-4888-b575-5e32ac6efcc8" providerId="ADAL" clId="{E1CADF8E-9C95-4393-B328-B680AC11CCFC}" dt="2024-01-23T12:17:59.147" v="1029" actId="478"/>
          <ac:spMkLst>
            <pc:docMk/>
            <pc:sldMk cId="1994944248" sldId="2147480859"/>
            <ac:spMk id="35" creationId="{6090CEE1-C38F-1203-560B-72B0EB84E920}"/>
          </ac:spMkLst>
        </pc:spChg>
        <pc:spChg chg="del">
          <ac:chgData name="Ana Blasi Sanchiz" userId="ade4f707-3308-4888-b575-5e32ac6efcc8" providerId="ADAL" clId="{E1CADF8E-9C95-4393-B328-B680AC11CCFC}" dt="2024-01-23T12:17:56.552" v="1027" actId="478"/>
          <ac:spMkLst>
            <pc:docMk/>
            <pc:sldMk cId="1994944248" sldId="2147480859"/>
            <ac:spMk id="36" creationId="{E46EBE43-20E1-2D24-0ABC-D1B20B561431}"/>
          </ac:spMkLst>
        </pc:spChg>
        <pc:spChg chg="del">
          <ac:chgData name="Ana Blasi Sanchiz" userId="ade4f707-3308-4888-b575-5e32ac6efcc8" providerId="ADAL" clId="{E1CADF8E-9C95-4393-B328-B680AC11CCFC}" dt="2024-01-23T12:17:56.552" v="1027" actId="478"/>
          <ac:spMkLst>
            <pc:docMk/>
            <pc:sldMk cId="1994944248" sldId="2147480859"/>
            <ac:spMk id="41" creationId="{E6B19D1C-7BB8-E758-8ED0-5D68BB2DD088}"/>
          </ac:spMkLst>
        </pc:spChg>
        <pc:spChg chg="del">
          <ac:chgData name="Ana Blasi Sanchiz" userId="ade4f707-3308-4888-b575-5e32ac6efcc8" providerId="ADAL" clId="{E1CADF8E-9C95-4393-B328-B680AC11CCFC}" dt="2024-01-23T12:17:56.552" v="1027" actId="478"/>
          <ac:spMkLst>
            <pc:docMk/>
            <pc:sldMk cId="1994944248" sldId="2147480859"/>
            <ac:spMk id="42" creationId="{48C91773-8240-D6DF-E23A-98455C143776}"/>
          </ac:spMkLst>
        </pc:spChg>
        <pc:spChg chg="mod">
          <ac:chgData name="Ana Blasi Sanchiz" userId="ade4f707-3308-4888-b575-5e32ac6efcc8" providerId="ADAL" clId="{E1CADF8E-9C95-4393-B328-B680AC11CCFC}" dt="2024-01-23T11:35:52.156" v="988"/>
          <ac:spMkLst>
            <pc:docMk/>
            <pc:sldMk cId="1994944248" sldId="2147480859"/>
            <ac:spMk id="43" creationId="{AC328013-A5FF-345A-1C6B-31027FBA6A1B}"/>
          </ac:spMkLst>
        </pc:spChg>
        <pc:cxnChg chg="del">
          <ac:chgData name="Ana Blasi Sanchiz" userId="ade4f707-3308-4888-b575-5e32ac6efcc8" providerId="ADAL" clId="{E1CADF8E-9C95-4393-B328-B680AC11CCFC}" dt="2024-01-23T12:17:19.602" v="1021" actId="478"/>
          <ac:cxnSpMkLst>
            <pc:docMk/>
            <pc:sldMk cId="1994944248" sldId="2147480859"/>
            <ac:cxnSpMk id="8" creationId="{3688D569-E845-21B1-E5BD-42D005C05D4A}"/>
          </ac:cxnSpMkLst>
        </pc:cxnChg>
        <pc:cxnChg chg="del">
          <ac:chgData name="Ana Blasi Sanchiz" userId="ade4f707-3308-4888-b575-5e32ac6efcc8" providerId="ADAL" clId="{E1CADF8E-9C95-4393-B328-B680AC11CCFC}" dt="2024-01-23T12:17:44.432" v="1025" actId="478"/>
          <ac:cxnSpMkLst>
            <pc:docMk/>
            <pc:sldMk cId="1994944248" sldId="2147480859"/>
            <ac:cxnSpMk id="21" creationId="{38B6466A-4899-5308-5A9D-0081BF861C25}"/>
          </ac:cxnSpMkLst>
        </pc:cxnChg>
      </pc:sldChg>
      <pc:sldChg chg="modSp mod">
        <pc:chgData name="Ana Blasi Sanchiz" userId="ade4f707-3308-4888-b575-5e32ac6efcc8" providerId="ADAL" clId="{E1CADF8E-9C95-4393-B328-B680AC11CCFC}" dt="2024-01-12T14:59:03.649" v="316" actId="255"/>
        <pc:sldMkLst>
          <pc:docMk/>
          <pc:sldMk cId="1561388618" sldId="2147480871"/>
        </pc:sldMkLst>
        <pc:spChg chg="mod">
          <ac:chgData name="Ana Blasi Sanchiz" userId="ade4f707-3308-4888-b575-5e32ac6efcc8" providerId="ADAL" clId="{E1CADF8E-9C95-4393-B328-B680AC11CCFC}" dt="2024-01-12T14:59:03.649" v="316" actId="255"/>
          <ac:spMkLst>
            <pc:docMk/>
            <pc:sldMk cId="1561388618" sldId="2147480871"/>
            <ac:spMk id="6" creationId="{0F5E3F46-8981-3F70-5F89-D319D624022D}"/>
          </ac:spMkLst>
        </pc:spChg>
      </pc:sldChg>
      <pc:sldChg chg="modSp new mod">
        <pc:chgData name="Ana Blasi Sanchiz" userId="ade4f707-3308-4888-b575-5e32ac6efcc8" providerId="ADAL" clId="{E1CADF8E-9C95-4393-B328-B680AC11CCFC}" dt="2024-01-19T15:16:35.254" v="978" actId="20577"/>
        <pc:sldMkLst>
          <pc:docMk/>
          <pc:sldMk cId="1888007634" sldId="2147480872"/>
        </pc:sldMkLst>
        <pc:spChg chg="mod">
          <ac:chgData name="Ana Blasi Sanchiz" userId="ade4f707-3308-4888-b575-5e32ac6efcc8" providerId="ADAL" clId="{E1CADF8E-9C95-4393-B328-B680AC11CCFC}" dt="2024-01-16T21:02:04.521" v="408"/>
          <ac:spMkLst>
            <pc:docMk/>
            <pc:sldMk cId="1888007634" sldId="2147480872"/>
            <ac:spMk id="2" creationId="{A904A827-CF19-401B-DA79-C144FCC2A878}"/>
          </ac:spMkLst>
        </pc:spChg>
        <pc:spChg chg="mod">
          <ac:chgData name="Ana Blasi Sanchiz" userId="ade4f707-3308-4888-b575-5e32ac6efcc8" providerId="ADAL" clId="{E1CADF8E-9C95-4393-B328-B680AC11CCFC}" dt="2024-01-19T15:16:35.254" v="978" actId="20577"/>
          <ac:spMkLst>
            <pc:docMk/>
            <pc:sldMk cId="1888007634" sldId="2147480872"/>
            <ac:spMk id="5" creationId="{47378FE3-74B1-D9BD-0085-8DE274037972}"/>
          </ac:spMkLst>
        </pc:spChg>
      </pc:sldChg>
      <pc:sldChg chg="addSp delSp modSp add mod modNotesTx">
        <pc:chgData name="Ana Blasi Sanchiz" userId="ade4f707-3308-4888-b575-5e32ac6efcc8" providerId="ADAL" clId="{E1CADF8E-9C95-4393-B328-B680AC11CCFC}" dt="2024-01-23T17:21:14.318" v="1083" actId="20577"/>
        <pc:sldMkLst>
          <pc:docMk/>
          <pc:sldMk cId="1889253712" sldId="2147480873"/>
        </pc:sldMkLst>
        <pc:spChg chg="del">
          <ac:chgData name="Ana Blasi Sanchiz" userId="ade4f707-3308-4888-b575-5e32ac6efcc8" providerId="ADAL" clId="{E1CADF8E-9C95-4393-B328-B680AC11CCFC}" dt="2024-01-18T18:50:30.466" v="681" actId="478"/>
          <ac:spMkLst>
            <pc:docMk/>
            <pc:sldMk cId="1889253712" sldId="2147480873"/>
            <ac:spMk id="8" creationId="{64B4A87A-79B8-A826-C060-90C5625981BD}"/>
          </ac:spMkLst>
        </pc:spChg>
        <pc:spChg chg="del">
          <ac:chgData name="Ana Blasi Sanchiz" userId="ade4f707-3308-4888-b575-5e32ac6efcc8" providerId="ADAL" clId="{E1CADF8E-9C95-4393-B328-B680AC11CCFC}" dt="2024-01-18T18:50:30.466" v="681" actId="478"/>
          <ac:spMkLst>
            <pc:docMk/>
            <pc:sldMk cId="1889253712" sldId="2147480873"/>
            <ac:spMk id="9" creationId="{706B21D5-7F9C-4D1E-6E4C-84008CF4EDD4}"/>
          </ac:spMkLst>
        </pc:spChg>
        <pc:spChg chg="del">
          <ac:chgData name="Ana Blasi Sanchiz" userId="ade4f707-3308-4888-b575-5e32ac6efcc8" providerId="ADAL" clId="{E1CADF8E-9C95-4393-B328-B680AC11CCFC}" dt="2024-01-18T18:50:30.466" v="681" actId="478"/>
          <ac:spMkLst>
            <pc:docMk/>
            <pc:sldMk cId="1889253712" sldId="2147480873"/>
            <ac:spMk id="14" creationId="{0FD3CD40-73AA-4EDD-A37C-A605719DA62D}"/>
          </ac:spMkLst>
        </pc:spChg>
        <pc:spChg chg="mod">
          <ac:chgData name="Ana Blasi Sanchiz" userId="ade4f707-3308-4888-b575-5e32ac6efcc8" providerId="ADAL" clId="{E1CADF8E-9C95-4393-B328-B680AC11CCFC}" dt="2024-01-19T12:22:12.217" v="939" actId="164"/>
          <ac:spMkLst>
            <pc:docMk/>
            <pc:sldMk cId="1889253712" sldId="2147480873"/>
            <ac:spMk id="16" creationId="{D7A64B2A-0267-2753-9A46-AE0C18597D4D}"/>
          </ac:spMkLst>
        </pc:spChg>
        <pc:spChg chg="mod">
          <ac:chgData name="Ana Blasi Sanchiz" userId="ade4f707-3308-4888-b575-5e32ac6efcc8" providerId="ADAL" clId="{E1CADF8E-9C95-4393-B328-B680AC11CCFC}" dt="2024-01-19T12:22:12.217" v="939" actId="164"/>
          <ac:spMkLst>
            <pc:docMk/>
            <pc:sldMk cId="1889253712" sldId="2147480873"/>
            <ac:spMk id="17" creationId="{B2ACDE2A-822C-C5A5-A321-825E912989A7}"/>
          </ac:spMkLst>
        </pc:spChg>
        <pc:spChg chg="mod">
          <ac:chgData name="Ana Blasi Sanchiz" userId="ade4f707-3308-4888-b575-5e32ac6efcc8" providerId="ADAL" clId="{E1CADF8E-9C95-4393-B328-B680AC11CCFC}" dt="2024-01-19T12:22:12.217" v="939" actId="164"/>
          <ac:spMkLst>
            <pc:docMk/>
            <pc:sldMk cId="1889253712" sldId="2147480873"/>
            <ac:spMk id="22" creationId="{08FCA1CB-511B-6CDD-4619-01F39083CE04}"/>
          </ac:spMkLst>
        </pc:spChg>
        <pc:spChg chg="del">
          <ac:chgData name="Ana Blasi Sanchiz" userId="ade4f707-3308-4888-b575-5e32ac6efcc8" providerId="ADAL" clId="{E1CADF8E-9C95-4393-B328-B680AC11CCFC}" dt="2024-01-18T18:50:30.466" v="681" actId="478"/>
          <ac:spMkLst>
            <pc:docMk/>
            <pc:sldMk cId="1889253712" sldId="2147480873"/>
            <ac:spMk id="25" creationId="{D5D491BC-81B4-49AA-CD0D-C8AE90DC6BF1}"/>
          </ac:spMkLst>
        </pc:spChg>
        <pc:spChg chg="del">
          <ac:chgData name="Ana Blasi Sanchiz" userId="ade4f707-3308-4888-b575-5e32ac6efcc8" providerId="ADAL" clId="{E1CADF8E-9C95-4393-B328-B680AC11CCFC}" dt="2024-01-18T18:50:30.466" v="681" actId="478"/>
          <ac:spMkLst>
            <pc:docMk/>
            <pc:sldMk cId="1889253712" sldId="2147480873"/>
            <ac:spMk id="26" creationId="{84062872-2620-F134-6850-B748DD5BA52F}"/>
          </ac:spMkLst>
        </pc:spChg>
        <pc:spChg chg="del">
          <ac:chgData name="Ana Blasi Sanchiz" userId="ade4f707-3308-4888-b575-5e32ac6efcc8" providerId="ADAL" clId="{E1CADF8E-9C95-4393-B328-B680AC11CCFC}" dt="2024-01-18T18:50:30.466" v="681" actId="478"/>
          <ac:spMkLst>
            <pc:docMk/>
            <pc:sldMk cId="1889253712" sldId="2147480873"/>
            <ac:spMk id="30" creationId="{8C490B16-A2BF-963A-C429-7A6906D5A092}"/>
          </ac:spMkLst>
        </pc:spChg>
        <pc:spChg chg="mod">
          <ac:chgData name="Ana Blasi Sanchiz" userId="ade4f707-3308-4888-b575-5e32ac6efcc8" providerId="ADAL" clId="{E1CADF8E-9C95-4393-B328-B680AC11CCFC}" dt="2024-01-23T17:21:14.318" v="1083" actId="20577"/>
          <ac:spMkLst>
            <pc:docMk/>
            <pc:sldMk cId="1889253712" sldId="2147480873"/>
            <ac:spMk id="34" creationId="{6F610C54-85FF-EDA0-9462-6192E80E2307}"/>
          </ac:spMkLst>
        </pc:spChg>
        <pc:spChg chg="del">
          <ac:chgData name="Ana Blasi Sanchiz" userId="ade4f707-3308-4888-b575-5e32ac6efcc8" providerId="ADAL" clId="{E1CADF8E-9C95-4393-B328-B680AC11CCFC}" dt="2024-01-18T18:50:30.466" v="681" actId="478"/>
          <ac:spMkLst>
            <pc:docMk/>
            <pc:sldMk cId="1889253712" sldId="2147480873"/>
            <ac:spMk id="35" creationId="{C8BBB69D-4CFE-9055-2CE4-60D54FFBA55A}"/>
          </ac:spMkLst>
        </pc:spChg>
        <pc:spChg chg="del">
          <ac:chgData name="Ana Blasi Sanchiz" userId="ade4f707-3308-4888-b575-5e32ac6efcc8" providerId="ADAL" clId="{E1CADF8E-9C95-4393-B328-B680AC11CCFC}" dt="2024-01-18T18:50:30.466" v="681" actId="478"/>
          <ac:spMkLst>
            <pc:docMk/>
            <pc:sldMk cId="1889253712" sldId="2147480873"/>
            <ac:spMk id="36" creationId="{D00F8F35-590C-333F-0990-961C7A207DCE}"/>
          </ac:spMkLst>
        </pc:spChg>
        <pc:grpChg chg="add mod">
          <ac:chgData name="Ana Blasi Sanchiz" userId="ade4f707-3308-4888-b575-5e32ac6efcc8" providerId="ADAL" clId="{E1CADF8E-9C95-4393-B328-B680AC11CCFC}" dt="2024-01-19T12:22:12.217" v="939" actId="164"/>
          <ac:grpSpMkLst>
            <pc:docMk/>
            <pc:sldMk cId="1889253712" sldId="2147480873"/>
            <ac:grpSpMk id="6" creationId="{7F7E56FA-0FD7-2377-A774-527EF2044E64}"/>
          </ac:grpSpMkLst>
        </pc:grpChg>
        <pc:cxnChg chg="del">
          <ac:chgData name="Ana Blasi Sanchiz" userId="ade4f707-3308-4888-b575-5e32ac6efcc8" providerId="ADAL" clId="{E1CADF8E-9C95-4393-B328-B680AC11CCFC}" dt="2024-01-18T18:50:30.466" v="681" actId="478"/>
          <ac:cxnSpMkLst>
            <pc:docMk/>
            <pc:sldMk cId="1889253712" sldId="2147480873"/>
            <ac:cxnSpMk id="10" creationId="{E54B0E62-7F9B-A4F9-14EA-379F0C968852}"/>
          </ac:cxnSpMkLst>
        </pc:cxnChg>
        <pc:cxnChg chg="mod">
          <ac:chgData name="Ana Blasi Sanchiz" userId="ade4f707-3308-4888-b575-5e32ac6efcc8" providerId="ADAL" clId="{E1CADF8E-9C95-4393-B328-B680AC11CCFC}" dt="2024-01-19T12:22:12.217" v="939" actId="164"/>
          <ac:cxnSpMkLst>
            <pc:docMk/>
            <pc:sldMk cId="1889253712" sldId="2147480873"/>
            <ac:cxnSpMk id="18" creationId="{21FC32A3-C2C4-0B83-92AC-FEDDC9169AE6}"/>
          </ac:cxnSpMkLst>
        </pc:cxnChg>
        <pc:cxnChg chg="del">
          <ac:chgData name="Ana Blasi Sanchiz" userId="ade4f707-3308-4888-b575-5e32ac6efcc8" providerId="ADAL" clId="{E1CADF8E-9C95-4393-B328-B680AC11CCFC}" dt="2024-01-18T18:50:30.466" v="681" actId="478"/>
          <ac:cxnSpMkLst>
            <pc:docMk/>
            <pc:sldMk cId="1889253712" sldId="2147480873"/>
            <ac:cxnSpMk id="27" creationId="{CB8EA25D-5185-61CC-77DC-26DBF24B6FA0}"/>
          </ac:cxnSpMkLst>
        </pc:cxnChg>
      </pc:sldChg>
      <pc:sldChg chg="new del">
        <pc:chgData name="Ana Blasi Sanchiz" userId="ade4f707-3308-4888-b575-5e32ac6efcc8" providerId="ADAL" clId="{E1CADF8E-9C95-4393-B328-B680AC11CCFC}" dt="2024-01-18T18:51:13.667" v="685" actId="680"/>
        <pc:sldMkLst>
          <pc:docMk/>
          <pc:sldMk cId="1953011065" sldId="2147480874"/>
        </pc:sldMkLst>
      </pc:sldChg>
      <pc:sldChg chg="delSp modSp new del mod">
        <pc:chgData name="Ana Blasi Sanchiz" userId="ade4f707-3308-4888-b575-5e32ac6efcc8" providerId="ADAL" clId="{E1CADF8E-9C95-4393-B328-B680AC11CCFC}" dt="2024-01-18T18:53:14.094" v="711" actId="47"/>
        <pc:sldMkLst>
          <pc:docMk/>
          <pc:sldMk cId="2919704700" sldId="2147480874"/>
        </pc:sldMkLst>
        <pc:spChg chg="mod">
          <ac:chgData name="Ana Blasi Sanchiz" userId="ade4f707-3308-4888-b575-5e32ac6efcc8" providerId="ADAL" clId="{E1CADF8E-9C95-4393-B328-B680AC11CCFC}" dt="2024-01-18T18:52:49.009" v="710" actId="20577"/>
          <ac:spMkLst>
            <pc:docMk/>
            <pc:sldMk cId="2919704700" sldId="2147480874"/>
            <ac:spMk id="2" creationId="{DAFDD4CA-9DE8-94AF-EFDF-90CD47C866BB}"/>
          </ac:spMkLst>
        </pc:spChg>
        <pc:spChg chg="del">
          <ac:chgData name="Ana Blasi Sanchiz" userId="ade4f707-3308-4888-b575-5e32ac6efcc8" providerId="ADAL" clId="{E1CADF8E-9C95-4393-B328-B680AC11CCFC}" dt="2024-01-18T18:51:35.525" v="689" actId="478"/>
          <ac:spMkLst>
            <pc:docMk/>
            <pc:sldMk cId="2919704700" sldId="2147480874"/>
            <ac:spMk id="3" creationId="{A3331813-2DFB-21D6-C62B-2FC5BEFB501C}"/>
          </ac:spMkLst>
        </pc:spChg>
        <pc:spChg chg="del mod">
          <ac:chgData name="Ana Blasi Sanchiz" userId="ade4f707-3308-4888-b575-5e32ac6efcc8" providerId="ADAL" clId="{E1CADF8E-9C95-4393-B328-B680AC11CCFC}" dt="2024-01-18T18:51:32.468" v="688" actId="478"/>
          <ac:spMkLst>
            <pc:docMk/>
            <pc:sldMk cId="2919704700" sldId="2147480874"/>
            <ac:spMk id="5" creationId="{4581BB23-07A3-6A2E-82BC-92C2F4E4043C}"/>
          </ac:spMkLst>
        </pc:spChg>
      </pc:sldChg>
      <pc:sldChg chg="delSp modSp new del mod">
        <pc:chgData name="Ana Blasi Sanchiz" userId="ade4f707-3308-4888-b575-5e32ac6efcc8" providerId="ADAL" clId="{E1CADF8E-9C95-4393-B328-B680AC11CCFC}" dt="2024-01-18T18:59:29.753" v="807" actId="47"/>
        <pc:sldMkLst>
          <pc:docMk/>
          <pc:sldMk cId="3087427882" sldId="2147480874"/>
        </pc:sldMkLst>
        <pc:spChg chg="mod">
          <ac:chgData name="Ana Blasi Sanchiz" userId="ade4f707-3308-4888-b575-5e32ac6efcc8" providerId="ADAL" clId="{E1CADF8E-9C95-4393-B328-B680AC11CCFC}" dt="2024-01-18T18:54:58.465" v="722"/>
          <ac:spMkLst>
            <pc:docMk/>
            <pc:sldMk cId="3087427882" sldId="2147480874"/>
            <ac:spMk id="2" creationId="{0794FBBE-8F32-E7C3-B288-EA41DB38B30A}"/>
          </ac:spMkLst>
        </pc:spChg>
        <pc:spChg chg="mod">
          <ac:chgData name="Ana Blasi Sanchiz" userId="ade4f707-3308-4888-b575-5e32ac6efcc8" providerId="ADAL" clId="{E1CADF8E-9C95-4393-B328-B680AC11CCFC}" dt="2024-01-18T18:57:32.164" v="791" actId="14100"/>
          <ac:spMkLst>
            <pc:docMk/>
            <pc:sldMk cId="3087427882" sldId="2147480874"/>
            <ac:spMk id="5" creationId="{0988F40D-85EB-7ABC-4A18-68D2DE4339D4}"/>
          </ac:spMkLst>
        </pc:spChg>
        <pc:spChg chg="mod">
          <ac:chgData name="Ana Blasi Sanchiz" userId="ade4f707-3308-4888-b575-5e32ac6efcc8" providerId="ADAL" clId="{E1CADF8E-9C95-4393-B328-B680AC11CCFC}" dt="2024-01-18T18:57:16.045" v="787" actId="1076"/>
          <ac:spMkLst>
            <pc:docMk/>
            <pc:sldMk cId="3087427882" sldId="2147480874"/>
            <ac:spMk id="6" creationId="{9D69AC8C-9242-96C5-864D-5ADA70B64B89}"/>
          </ac:spMkLst>
        </pc:spChg>
        <pc:spChg chg="del mod">
          <ac:chgData name="Ana Blasi Sanchiz" userId="ade4f707-3308-4888-b575-5e32ac6efcc8" providerId="ADAL" clId="{E1CADF8E-9C95-4393-B328-B680AC11CCFC}" dt="2024-01-18T18:58:35.222" v="806" actId="478"/>
          <ac:spMkLst>
            <pc:docMk/>
            <pc:sldMk cId="3087427882" sldId="2147480874"/>
            <ac:spMk id="7" creationId="{AE9DAD7E-D134-9861-2969-56B9EA7C157F}"/>
          </ac:spMkLst>
        </pc:spChg>
      </pc:sldChg>
      <pc:sldChg chg="modSp add mod ord">
        <pc:chgData name="Ana Blasi Sanchiz" userId="ade4f707-3308-4888-b575-5e32ac6efcc8" providerId="ADAL" clId="{E1CADF8E-9C95-4393-B328-B680AC11CCFC}" dt="2024-01-19T08:44:26.907" v="938"/>
        <pc:sldMkLst>
          <pc:docMk/>
          <pc:sldMk cId="4100918686" sldId="2147480875"/>
        </pc:sldMkLst>
        <pc:spChg chg="mod">
          <ac:chgData name="Ana Blasi Sanchiz" userId="ade4f707-3308-4888-b575-5e32ac6efcc8" providerId="ADAL" clId="{E1CADF8E-9C95-4393-B328-B680AC11CCFC}" dt="2024-01-18T18:58:13.521" v="802" actId="14100"/>
          <ac:spMkLst>
            <pc:docMk/>
            <pc:sldMk cId="4100918686" sldId="2147480875"/>
            <ac:spMk id="5" creationId="{0988F40D-85EB-7ABC-4A18-68D2DE4339D4}"/>
          </ac:spMkLst>
        </pc:spChg>
        <pc:spChg chg="mod">
          <ac:chgData name="Ana Blasi Sanchiz" userId="ade4f707-3308-4888-b575-5e32ac6efcc8" providerId="ADAL" clId="{E1CADF8E-9C95-4393-B328-B680AC11CCFC}" dt="2024-01-18T18:58:06.636" v="800" actId="1076"/>
          <ac:spMkLst>
            <pc:docMk/>
            <pc:sldMk cId="4100918686" sldId="2147480875"/>
            <ac:spMk id="6" creationId="{9D69AC8C-9242-96C5-864D-5ADA70B64B89}"/>
          </ac:spMkLst>
        </pc:spChg>
        <pc:spChg chg="mod">
          <ac:chgData name="Ana Blasi Sanchiz" userId="ade4f707-3308-4888-b575-5e32ac6efcc8" providerId="ADAL" clId="{E1CADF8E-9C95-4393-B328-B680AC11CCFC}" dt="2024-01-18T18:57:48.216" v="794" actId="1076"/>
          <ac:spMkLst>
            <pc:docMk/>
            <pc:sldMk cId="4100918686" sldId="2147480875"/>
            <ac:spMk id="7" creationId="{AE9DAD7E-D134-9861-2969-56B9EA7C157F}"/>
          </ac:spMkLst>
        </pc:spChg>
      </pc:sldChg>
      <pc:sldChg chg="add ord">
        <pc:chgData name="Ana Blasi Sanchiz" userId="ade4f707-3308-4888-b575-5e32ac6efcc8" providerId="ADAL" clId="{E1CADF8E-9C95-4393-B328-B680AC11CCFC}" dt="2024-01-19T08:44:23.619" v="936"/>
        <pc:sldMkLst>
          <pc:docMk/>
          <pc:sldMk cId="4072387506" sldId="2147480876"/>
        </pc:sldMkLst>
      </pc:sldChg>
      <pc:sldChg chg="addSp delSp modSp new mod modNotesTx">
        <pc:chgData name="Ana Blasi Sanchiz" userId="ade4f707-3308-4888-b575-5e32ac6efcc8" providerId="ADAL" clId="{E1CADF8E-9C95-4393-B328-B680AC11CCFC}" dt="2024-01-18T19:03:51.964" v="928"/>
        <pc:sldMkLst>
          <pc:docMk/>
          <pc:sldMk cId="1089867451" sldId="2147480877"/>
        </pc:sldMkLst>
        <pc:spChg chg="del mod">
          <ac:chgData name="Ana Blasi Sanchiz" userId="ade4f707-3308-4888-b575-5e32ac6efcc8" providerId="ADAL" clId="{E1CADF8E-9C95-4393-B328-B680AC11CCFC}" dt="2024-01-18T19:01:12.300" v="883" actId="478"/>
          <ac:spMkLst>
            <pc:docMk/>
            <pc:sldMk cId="1089867451" sldId="2147480877"/>
            <ac:spMk id="2" creationId="{D8BF5FC5-083C-DDE8-C7F8-FF8512B3694E}"/>
          </ac:spMkLst>
        </pc:spChg>
        <pc:spChg chg="del">
          <ac:chgData name="Ana Blasi Sanchiz" userId="ade4f707-3308-4888-b575-5e32ac6efcc8" providerId="ADAL" clId="{E1CADF8E-9C95-4393-B328-B680AC11CCFC}" dt="2024-01-18T18:59:46.116" v="811" actId="478"/>
          <ac:spMkLst>
            <pc:docMk/>
            <pc:sldMk cId="1089867451" sldId="2147480877"/>
            <ac:spMk id="3" creationId="{0833E1FC-E28F-AA0A-6460-1BA388317975}"/>
          </ac:spMkLst>
        </pc:spChg>
        <pc:spChg chg="del mod">
          <ac:chgData name="Ana Blasi Sanchiz" userId="ade4f707-3308-4888-b575-5e32ac6efcc8" providerId="ADAL" clId="{E1CADF8E-9C95-4393-B328-B680AC11CCFC}" dt="2024-01-18T19:02:31.085" v="907" actId="478"/>
          <ac:spMkLst>
            <pc:docMk/>
            <pc:sldMk cId="1089867451" sldId="2147480877"/>
            <ac:spMk id="4" creationId="{FB77C262-139E-5BAE-A1A2-1A8B524BB2BB}"/>
          </ac:spMkLst>
        </pc:spChg>
        <pc:spChg chg="del">
          <ac:chgData name="Ana Blasi Sanchiz" userId="ade4f707-3308-4888-b575-5e32ac6efcc8" providerId="ADAL" clId="{E1CADF8E-9C95-4393-B328-B680AC11CCFC}" dt="2024-01-18T18:59:46.116" v="811" actId="478"/>
          <ac:spMkLst>
            <pc:docMk/>
            <pc:sldMk cId="1089867451" sldId="2147480877"/>
            <ac:spMk id="5" creationId="{585660F9-35AB-EFAF-E57B-9785EE49FAE5}"/>
          </ac:spMkLst>
        </pc:spChg>
        <pc:spChg chg="add del mod">
          <ac:chgData name="Ana Blasi Sanchiz" userId="ade4f707-3308-4888-b575-5e32ac6efcc8" providerId="ADAL" clId="{E1CADF8E-9C95-4393-B328-B680AC11CCFC}" dt="2024-01-18T19:02:37.610" v="909" actId="478"/>
          <ac:spMkLst>
            <pc:docMk/>
            <pc:sldMk cId="1089867451" sldId="2147480877"/>
            <ac:spMk id="9" creationId="{A7061538-3040-5E2B-C33B-2F73F6B38F51}"/>
          </ac:spMkLst>
        </pc:spChg>
        <pc:spChg chg="add del mod">
          <ac:chgData name="Ana Blasi Sanchiz" userId="ade4f707-3308-4888-b575-5e32ac6efcc8" providerId="ADAL" clId="{E1CADF8E-9C95-4393-B328-B680AC11CCFC}" dt="2024-01-18T19:01:22.890" v="886" actId="478"/>
          <ac:spMkLst>
            <pc:docMk/>
            <pc:sldMk cId="1089867451" sldId="2147480877"/>
            <ac:spMk id="11" creationId="{FC4D869B-C54D-9518-EF03-F4D481DD3C9C}"/>
          </ac:spMkLst>
        </pc:spChg>
        <pc:spChg chg="add del mod">
          <ac:chgData name="Ana Blasi Sanchiz" userId="ade4f707-3308-4888-b575-5e32ac6efcc8" providerId="ADAL" clId="{E1CADF8E-9C95-4393-B328-B680AC11CCFC}" dt="2024-01-18T19:02:34.991" v="908" actId="478"/>
          <ac:spMkLst>
            <pc:docMk/>
            <pc:sldMk cId="1089867451" sldId="2147480877"/>
            <ac:spMk id="13" creationId="{343E1325-0302-FBBD-B191-D49BB48D36A2}"/>
          </ac:spMkLst>
        </pc:spChg>
        <pc:spChg chg="del mod">
          <ac:chgData name="Ana Blasi Sanchiz" userId="ade4f707-3308-4888-b575-5e32ac6efcc8" providerId="ADAL" clId="{E1CADF8E-9C95-4393-B328-B680AC11CCFC}" dt="2024-01-18T19:02:41.194" v="911" actId="478"/>
          <ac:spMkLst>
            <pc:docMk/>
            <pc:sldMk cId="1089867451" sldId="2147480877"/>
            <ac:spMk id="15" creationId="{3034936A-C23C-3286-F169-5309F6A76422}"/>
          </ac:spMkLst>
        </pc:spChg>
        <pc:spChg chg="mod">
          <ac:chgData name="Ana Blasi Sanchiz" userId="ade4f707-3308-4888-b575-5e32ac6efcc8" providerId="ADAL" clId="{E1CADF8E-9C95-4393-B328-B680AC11CCFC}" dt="2024-01-18T19:03:23.984" v="925" actId="120"/>
          <ac:spMkLst>
            <pc:docMk/>
            <pc:sldMk cId="1089867451" sldId="2147480877"/>
            <ac:spMk id="16" creationId="{7D5A90BB-48B3-5DE5-020C-D51AD9C57CBE}"/>
          </ac:spMkLst>
        </pc:spChg>
        <pc:spChg chg="mod">
          <ac:chgData name="Ana Blasi Sanchiz" userId="ade4f707-3308-4888-b575-5e32ac6efcc8" providerId="ADAL" clId="{E1CADF8E-9C95-4393-B328-B680AC11CCFC}" dt="2024-01-18T19:03:35.150" v="927" actId="14100"/>
          <ac:spMkLst>
            <pc:docMk/>
            <pc:sldMk cId="1089867451" sldId="2147480877"/>
            <ac:spMk id="17" creationId="{0EF7C5E6-B3E7-637A-1FFE-627988F3D21D}"/>
          </ac:spMkLst>
        </pc:spChg>
        <pc:grpChg chg="add mod">
          <ac:chgData name="Ana Blasi Sanchiz" userId="ade4f707-3308-4888-b575-5e32ac6efcc8" providerId="ADAL" clId="{E1CADF8E-9C95-4393-B328-B680AC11CCFC}" dt="2024-01-18T19:03:30.536" v="926" actId="14100"/>
          <ac:grpSpMkLst>
            <pc:docMk/>
            <pc:sldMk cId="1089867451" sldId="2147480877"/>
            <ac:grpSpMk id="14" creationId="{5ED212AC-91EA-42E9-85F2-856605A0679E}"/>
          </ac:grpSpMkLst>
        </pc:grpChg>
      </pc:sldChg>
      <pc:sldChg chg="new del">
        <pc:chgData name="Ana Blasi Sanchiz" userId="ade4f707-3308-4888-b575-5e32ac6efcc8" providerId="ADAL" clId="{E1CADF8E-9C95-4393-B328-B680AC11CCFC}" dt="2024-01-18T18:59:34.515" v="809" actId="47"/>
        <pc:sldMkLst>
          <pc:docMk/>
          <pc:sldMk cId="3564688248" sldId="2147480877"/>
        </pc:sldMkLst>
      </pc:sldChg>
      <pc:sldChg chg="modSp add mod">
        <pc:chgData name="Ana Blasi Sanchiz" userId="ade4f707-3308-4888-b575-5e32ac6efcc8" providerId="ADAL" clId="{E1CADF8E-9C95-4393-B328-B680AC11CCFC}" dt="2024-01-18T19:04:35.623" v="934" actId="1076"/>
        <pc:sldMkLst>
          <pc:docMk/>
          <pc:sldMk cId="2083069848" sldId="2147480878"/>
        </pc:sldMkLst>
        <pc:spChg chg="mod">
          <ac:chgData name="Ana Blasi Sanchiz" userId="ade4f707-3308-4888-b575-5e32ac6efcc8" providerId="ADAL" clId="{E1CADF8E-9C95-4393-B328-B680AC11CCFC}" dt="2024-01-18T19:04:29.915" v="933" actId="1076"/>
          <ac:spMkLst>
            <pc:docMk/>
            <pc:sldMk cId="2083069848" sldId="2147480878"/>
            <ac:spMk id="3" creationId="{4C06B66F-52A6-A65B-3FF1-8D94D0B20C06}"/>
          </ac:spMkLst>
        </pc:spChg>
        <pc:spChg chg="mod">
          <ac:chgData name="Ana Blasi Sanchiz" userId="ade4f707-3308-4888-b575-5e32ac6efcc8" providerId="ADAL" clId="{E1CADF8E-9C95-4393-B328-B680AC11CCFC}" dt="2024-01-18T19:04:29.915" v="933" actId="1076"/>
          <ac:spMkLst>
            <pc:docMk/>
            <pc:sldMk cId="2083069848" sldId="2147480878"/>
            <ac:spMk id="5" creationId="{A5A7B773-ED10-13F5-CA65-87E8A8F4B113}"/>
          </ac:spMkLst>
        </pc:spChg>
        <pc:spChg chg="mod">
          <ac:chgData name="Ana Blasi Sanchiz" userId="ade4f707-3308-4888-b575-5e32ac6efcc8" providerId="ADAL" clId="{E1CADF8E-9C95-4393-B328-B680AC11CCFC}" dt="2024-01-18T19:04:29.915" v="933" actId="1076"/>
          <ac:spMkLst>
            <pc:docMk/>
            <pc:sldMk cId="2083069848" sldId="2147480878"/>
            <ac:spMk id="27" creationId="{2197C01F-0F4E-C94E-B092-53ED659B7BDE}"/>
          </ac:spMkLst>
        </pc:spChg>
        <pc:spChg chg="mod">
          <ac:chgData name="Ana Blasi Sanchiz" userId="ade4f707-3308-4888-b575-5e32ac6efcc8" providerId="ADAL" clId="{E1CADF8E-9C95-4393-B328-B680AC11CCFC}" dt="2024-01-18T19:04:29.915" v="933" actId="1076"/>
          <ac:spMkLst>
            <pc:docMk/>
            <pc:sldMk cId="2083069848" sldId="2147480878"/>
            <ac:spMk id="28" creationId="{B8DBE09D-6AC0-FF9B-AD44-5A6F1910145C}"/>
          </ac:spMkLst>
        </pc:spChg>
        <pc:grpChg chg="mod">
          <ac:chgData name="Ana Blasi Sanchiz" userId="ade4f707-3308-4888-b575-5e32ac6efcc8" providerId="ADAL" clId="{E1CADF8E-9C95-4393-B328-B680AC11CCFC}" dt="2024-01-18T19:04:35.623" v="934" actId="1076"/>
          <ac:grpSpMkLst>
            <pc:docMk/>
            <pc:sldMk cId="2083069848" sldId="2147480878"/>
            <ac:grpSpMk id="19" creationId="{5ACCFC66-544A-FED8-EE44-DEAFBF917DA4}"/>
          </ac:grpSpMkLst>
        </pc:grpChg>
      </pc:sldChg>
      <pc:sldMasterChg chg="addSldLayout modSldLayout">
        <pc:chgData name="Ana Blasi Sanchiz" userId="ade4f707-3308-4888-b575-5e32ac6efcc8" providerId="ADAL" clId="{E1CADF8E-9C95-4393-B328-B680AC11CCFC}" dt="2024-01-18T18:55:44.911" v="743" actId="1076"/>
        <pc:sldMasterMkLst>
          <pc:docMk/>
          <pc:sldMasterMk cId="2201614670" sldId="2147483659"/>
        </pc:sldMasterMkLst>
        <pc:sldLayoutChg chg="addSp delSp modSp">
          <pc:chgData name="Ana Blasi Sanchiz" userId="ade4f707-3308-4888-b575-5e32ac6efcc8" providerId="ADAL" clId="{E1CADF8E-9C95-4393-B328-B680AC11CCFC}" dt="2024-01-18T18:53:48.005" v="715"/>
          <pc:sldLayoutMkLst>
            <pc:docMk/>
            <pc:sldMasterMk cId="2201614670" sldId="2147483659"/>
            <pc:sldLayoutMk cId="1674499653" sldId="2147483704"/>
          </pc:sldLayoutMkLst>
          <pc:spChg chg="add del mod">
            <ac:chgData name="Ana Blasi Sanchiz" userId="ade4f707-3308-4888-b575-5e32ac6efcc8" providerId="ADAL" clId="{E1CADF8E-9C95-4393-B328-B680AC11CCFC}" dt="2024-01-18T18:53:48.005" v="715"/>
            <ac:spMkLst>
              <pc:docMk/>
              <pc:sldMasterMk cId="2201614670" sldId="2147483659"/>
              <pc:sldLayoutMk cId="1674499653" sldId="2147483704"/>
              <ac:spMk id="6" creationId="{9CA3B923-5CE0-FC3F-D858-6F7BDAAC8EB7}"/>
            </ac:spMkLst>
          </pc:spChg>
          <pc:spChg chg="add del mod">
            <ac:chgData name="Ana Blasi Sanchiz" userId="ade4f707-3308-4888-b575-5e32ac6efcc8" providerId="ADAL" clId="{E1CADF8E-9C95-4393-B328-B680AC11CCFC}" dt="2024-01-18T18:53:48.005" v="715"/>
            <ac:spMkLst>
              <pc:docMk/>
              <pc:sldMasterMk cId="2201614670" sldId="2147483659"/>
              <pc:sldLayoutMk cId="1674499653" sldId="2147483704"/>
              <ac:spMk id="7" creationId="{F2199305-2075-F4DB-A666-41338903F5E1}"/>
            </ac:spMkLst>
          </pc:spChg>
        </pc:sldLayoutChg>
        <pc:sldLayoutChg chg="addSp modSp mod">
          <pc:chgData name="Ana Blasi Sanchiz" userId="ade4f707-3308-4888-b575-5e32ac6efcc8" providerId="ADAL" clId="{E1CADF8E-9C95-4393-B328-B680AC11CCFC}" dt="2024-01-18T18:55:44.911" v="743" actId="1076"/>
          <pc:sldLayoutMkLst>
            <pc:docMk/>
            <pc:sldMasterMk cId="2201614670" sldId="2147483659"/>
            <pc:sldLayoutMk cId="2513731098" sldId="2147483705"/>
          </pc:sldLayoutMkLst>
          <pc:spChg chg="mod">
            <ac:chgData name="Ana Blasi Sanchiz" userId="ade4f707-3308-4888-b575-5e32ac6efcc8" providerId="ADAL" clId="{E1CADF8E-9C95-4393-B328-B680AC11CCFC}" dt="2024-01-18T18:55:44.911" v="743" actId="1076"/>
            <ac:spMkLst>
              <pc:docMk/>
              <pc:sldMasterMk cId="2201614670" sldId="2147483659"/>
              <pc:sldLayoutMk cId="2513731098" sldId="2147483705"/>
              <ac:spMk id="2" creationId="{00000000-0000-0000-0000-000000000000}"/>
            </ac:spMkLst>
          </pc:spChg>
          <pc:spChg chg="add mod">
            <ac:chgData name="Ana Blasi Sanchiz" userId="ade4f707-3308-4888-b575-5e32ac6efcc8" providerId="ADAL" clId="{E1CADF8E-9C95-4393-B328-B680AC11CCFC}" dt="2024-01-18T18:55:32.421" v="738" actId="571"/>
            <ac:spMkLst>
              <pc:docMk/>
              <pc:sldMasterMk cId="2201614670" sldId="2147483659"/>
              <pc:sldLayoutMk cId="2513731098" sldId="2147483705"/>
              <ac:spMk id="4" creationId="{242E53C8-A458-FF88-B1BB-21287C419699}"/>
            </ac:spMkLst>
          </pc:spChg>
          <pc:spChg chg="add mod">
            <ac:chgData name="Ana Blasi Sanchiz" userId="ade4f707-3308-4888-b575-5e32ac6efcc8" providerId="ADAL" clId="{E1CADF8E-9C95-4393-B328-B680AC11CCFC}" dt="2024-01-18T18:55:37.972" v="741" actId="571"/>
            <ac:spMkLst>
              <pc:docMk/>
              <pc:sldMasterMk cId="2201614670" sldId="2147483659"/>
              <pc:sldLayoutMk cId="2513731098" sldId="2147483705"/>
              <ac:spMk id="5" creationId="{D05A561D-470A-7D63-EC32-7909E37ED06A}"/>
            </ac:spMkLst>
          </pc:spChg>
          <pc:spChg chg="mod">
            <ac:chgData name="Ana Blasi Sanchiz" userId="ade4f707-3308-4888-b575-5e32ac6efcc8" providerId="ADAL" clId="{E1CADF8E-9C95-4393-B328-B680AC11CCFC}" dt="2024-01-18T18:55:26.292" v="734" actId="1076"/>
            <ac:spMkLst>
              <pc:docMk/>
              <pc:sldMasterMk cId="2201614670" sldId="2147483659"/>
              <pc:sldLayoutMk cId="2513731098" sldId="2147483705"/>
              <ac:spMk id="19" creationId="{CF130104-FAF2-4309-9701-573F37743137}"/>
            </ac:spMkLst>
          </pc:spChg>
        </pc:sldLayoutChg>
        <pc:sldLayoutChg chg="addSp delSp modSp new mod replId">
          <pc:chgData name="Ana Blasi Sanchiz" userId="ade4f707-3308-4888-b575-5e32ac6efcc8" providerId="ADAL" clId="{E1CADF8E-9C95-4393-B328-B680AC11CCFC}" dt="2024-01-18T18:55:39.833" v="742"/>
          <pc:sldLayoutMkLst>
            <pc:docMk/>
            <pc:sldMasterMk cId="2201614670" sldId="2147483659"/>
            <pc:sldLayoutMk cId="651184622" sldId="2147483718"/>
          </pc:sldLayoutMkLst>
          <pc:spChg chg="add mod">
            <ac:chgData name="Ana Blasi Sanchiz" userId="ade4f707-3308-4888-b575-5e32ac6efcc8" providerId="ADAL" clId="{E1CADF8E-9C95-4393-B328-B680AC11CCFC}" dt="2024-01-18T18:53:49.367" v="716"/>
            <ac:spMkLst>
              <pc:docMk/>
              <pc:sldMasterMk cId="2201614670" sldId="2147483659"/>
              <pc:sldLayoutMk cId="651184622" sldId="2147483718"/>
              <ac:spMk id="5" creationId="{8632A0C6-4973-1FFF-2900-E7B9FF5E3876}"/>
            </ac:spMkLst>
          </pc:spChg>
          <pc:spChg chg="add mod">
            <ac:chgData name="Ana Blasi Sanchiz" userId="ade4f707-3308-4888-b575-5e32ac6efcc8" providerId="ADAL" clId="{E1CADF8E-9C95-4393-B328-B680AC11CCFC}" dt="2024-01-18T18:53:49.367" v="716"/>
            <ac:spMkLst>
              <pc:docMk/>
              <pc:sldMasterMk cId="2201614670" sldId="2147483659"/>
              <pc:sldLayoutMk cId="651184622" sldId="2147483718"/>
              <ac:spMk id="6" creationId="{450E367F-988D-4E68-62F8-2E0625C317B9}"/>
            </ac:spMkLst>
          </pc:spChg>
          <pc:spChg chg="add mod">
            <ac:chgData name="Ana Blasi Sanchiz" userId="ade4f707-3308-4888-b575-5e32ac6efcc8" providerId="ADAL" clId="{E1CADF8E-9C95-4393-B328-B680AC11CCFC}" dt="2024-01-18T18:54:13.414" v="720" actId="14100"/>
            <ac:spMkLst>
              <pc:docMk/>
              <pc:sldMasterMk cId="2201614670" sldId="2147483659"/>
              <pc:sldLayoutMk cId="651184622" sldId="2147483718"/>
              <ac:spMk id="7" creationId="{630596EF-76AD-5A5E-01A6-323F448FF583}"/>
            </ac:spMkLst>
          </pc:spChg>
          <pc:spChg chg="add del mod">
            <ac:chgData name="Ana Blasi Sanchiz" userId="ade4f707-3308-4888-b575-5e32ac6efcc8" providerId="ADAL" clId="{E1CADF8E-9C95-4393-B328-B680AC11CCFC}" dt="2024-01-18T18:55:29.934" v="737"/>
            <ac:spMkLst>
              <pc:docMk/>
              <pc:sldMasterMk cId="2201614670" sldId="2147483659"/>
              <pc:sldLayoutMk cId="651184622" sldId="2147483718"/>
              <ac:spMk id="8" creationId="{B67E47FF-E0DC-16B2-DE6E-DB0432CAE262}"/>
            </ac:spMkLst>
          </pc:spChg>
          <pc:spChg chg="add mod">
            <ac:chgData name="Ana Blasi Sanchiz" userId="ade4f707-3308-4888-b575-5e32ac6efcc8" providerId="ADAL" clId="{E1CADF8E-9C95-4393-B328-B680AC11CCFC}" dt="2024-01-18T18:55:39.833" v="742"/>
            <ac:spMkLst>
              <pc:docMk/>
              <pc:sldMasterMk cId="2201614670" sldId="2147483659"/>
              <pc:sldLayoutMk cId="651184622" sldId="2147483718"/>
              <ac:spMk id="9" creationId="{AD7D3E58-A651-6904-8031-E44B9BAB4FFB}"/>
            </ac:spMkLst>
          </pc:spChg>
        </pc:sldLayoutChg>
      </pc:sldMasterChg>
      <pc:sldMasterChg chg="new mod addSldLayout">
        <pc:chgData name="Ana Blasi Sanchiz" userId="ade4f707-3308-4888-b575-5e32ac6efcc8" providerId="ADAL" clId="{E1CADF8E-9C95-4393-B328-B680AC11CCFC}" dt="2024-01-18T18:53:27.533" v="712" actId="6938"/>
        <pc:sldMasterMkLst>
          <pc:docMk/>
          <pc:sldMasterMk cId="1768554784" sldId="2147483706"/>
        </pc:sldMasterMkLst>
        <pc:sldLayoutChg chg="new replId">
          <pc:chgData name="Ana Blasi Sanchiz" userId="ade4f707-3308-4888-b575-5e32ac6efcc8" providerId="ADAL" clId="{E1CADF8E-9C95-4393-B328-B680AC11CCFC}" dt="2024-01-18T18:53:27.533" v="712" actId="6938"/>
          <pc:sldLayoutMkLst>
            <pc:docMk/>
            <pc:sldMasterMk cId="1768554784" sldId="2147483706"/>
            <pc:sldLayoutMk cId="4028906199" sldId="2147483707"/>
          </pc:sldLayoutMkLst>
        </pc:sldLayoutChg>
        <pc:sldLayoutChg chg="new replId">
          <pc:chgData name="Ana Blasi Sanchiz" userId="ade4f707-3308-4888-b575-5e32ac6efcc8" providerId="ADAL" clId="{E1CADF8E-9C95-4393-B328-B680AC11CCFC}" dt="2024-01-18T18:53:27.533" v="712" actId="6938"/>
          <pc:sldLayoutMkLst>
            <pc:docMk/>
            <pc:sldMasterMk cId="1768554784" sldId="2147483706"/>
            <pc:sldLayoutMk cId="409040793" sldId="2147483708"/>
          </pc:sldLayoutMkLst>
        </pc:sldLayoutChg>
        <pc:sldLayoutChg chg="new replId">
          <pc:chgData name="Ana Blasi Sanchiz" userId="ade4f707-3308-4888-b575-5e32ac6efcc8" providerId="ADAL" clId="{E1CADF8E-9C95-4393-B328-B680AC11CCFC}" dt="2024-01-18T18:53:27.533" v="712" actId="6938"/>
          <pc:sldLayoutMkLst>
            <pc:docMk/>
            <pc:sldMasterMk cId="1768554784" sldId="2147483706"/>
            <pc:sldLayoutMk cId="1414034624" sldId="2147483709"/>
          </pc:sldLayoutMkLst>
        </pc:sldLayoutChg>
        <pc:sldLayoutChg chg="new replId">
          <pc:chgData name="Ana Blasi Sanchiz" userId="ade4f707-3308-4888-b575-5e32ac6efcc8" providerId="ADAL" clId="{E1CADF8E-9C95-4393-B328-B680AC11CCFC}" dt="2024-01-18T18:53:27.533" v="712" actId="6938"/>
          <pc:sldLayoutMkLst>
            <pc:docMk/>
            <pc:sldMasterMk cId="1768554784" sldId="2147483706"/>
            <pc:sldLayoutMk cId="2883331286" sldId="2147483710"/>
          </pc:sldLayoutMkLst>
        </pc:sldLayoutChg>
        <pc:sldLayoutChg chg="new replId">
          <pc:chgData name="Ana Blasi Sanchiz" userId="ade4f707-3308-4888-b575-5e32ac6efcc8" providerId="ADAL" clId="{E1CADF8E-9C95-4393-B328-B680AC11CCFC}" dt="2024-01-18T18:53:27.533" v="712" actId="6938"/>
          <pc:sldLayoutMkLst>
            <pc:docMk/>
            <pc:sldMasterMk cId="1768554784" sldId="2147483706"/>
            <pc:sldLayoutMk cId="1687192355" sldId="2147483711"/>
          </pc:sldLayoutMkLst>
        </pc:sldLayoutChg>
        <pc:sldLayoutChg chg="new replId">
          <pc:chgData name="Ana Blasi Sanchiz" userId="ade4f707-3308-4888-b575-5e32ac6efcc8" providerId="ADAL" clId="{E1CADF8E-9C95-4393-B328-B680AC11CCFC}" dt="2024-01-18T18:53:27.533" v="712" actId="6938"/>
          <pc:sldLayoutMkLst>
            <pc:docMk/>
            <pc:sldMasterMk cId="1768554784" sldId="2147483706"/>
            <pc:sldLayoutMk cId="1244464779" sldId="2147483712"/>
          </pc:sldLayoutMkLst>
        </pc:sldLayoutChg>
        <pc:sldLayoutChg chg="new replId">
          <pc:chgData name="Ana Blasi Sanchiz" userId="ade4f707-3308-4888-b575-5e32ac6efcc8" providerId="ADAL" clId="{E1CADF8E-9C95-4393-B328-B680AC11CCFC}" dt="2024-01-18T18:53:27.533" v="712" actId="6938"/>
          <pc:sldLayoutMkLst>
            <pc:docMk/>
            <pc:sldMasterMk cId="1768554784" sldId="2147483706"/>
            <pc:sldLayoutMk cId="3892554871" sldId="2147483713"/>
          </pc:sldLayoutMkLst>
        </pc:sldLayoutChg>
        <pc:sldLayoutChg chg="new replId">
          <pc:chgData name="Ana Blasi Sanchiz" userId="ade4f707-3308-4888-b575-5e32ac6efcc8" providerId="ADAL" clId="{E1CADF8E-9C95-4393-B328-B680AC11CCFC}" dt="2024-01-18T18:53:27.533" v="712" actId="6938"/>
          <pc:sldLayoutMkLst>
            <pc:docMk/>
            <pc:sldMasterMk cId="1768554784" sldId="2147483706"/>
            <pc:sldLayoutMk cId="2138984730" sldId="2147483714"/>
          </pc:sldLayoutMkLst>
        </pc:sldLayoutChg>
        <pc:sldLayoutChg chg="new replId">
          <pc:chgData name="Ana Blasi Sanchiz" userId="ade4f707-3308-4888-b575-5e32ac6efcc8" providerId="ADAL" clId="{E1CADF8E-9C95-4393-B328-B680AC11CCFC}" dt="2024-01-18T18:53:27.533" v="712" actId="6938"/>
          <pc:sldLayoutMkLst>
            <pc:docMk/>
            <pc:sldMasterMk cId="1768554784" sldId="2147483706"/>
            <pc:sldLayoutMk cId="3461325554" sldId="2147483715"/>
          </pc:sldLayoutMkLst>
        </pc:sldLayoutChg>
        <pc:sldLayoutChg chg="new replId">
          <pc:chgData name="Ana Blasi Sanchiz" userId="ade4f707-3308-4888-b575-5e32ac6efcc8" providerId="ADAL" clId="{E1CADF8E-9C95-4393-B328-B680AC11CCFC}" dt="2024-01-18T18:53:27.533" v="712" actId="6938"/>
          <pc:sldLayoutMkLst>
            <pc:docMk/>
            <pc:sldMasterMk cId="1768554784" sldId="2147483706"/>
            <pc:sldLayoutMk cId="3754352637" sldId="2147483716"/>
          </pc:sldLayoutMkLst>
        </pc:sldLayoutChg>
        <pc:sldLayoutChg chg="new replId">
          <pc:chgData name="Ana Blasi Sanchiz" userId="ade4f707-3308-4888-b575-5e32ac6efcc8" providerId="ADAL" clId="{E1CADF8E-9C95-4393-B328-B680AC11CCFC}" dt="2024-01-18T18:53:27.533" v="712" actId="6938"/>
          <pc:sldLayoutMkLst>
            <pc:docMk/>
            <pc:sldMasterMk cId="1768554784" sldId="2147483706"/>
            <pc:sldLayoutMk cId="728945377" sldId="2147483717"/>
          </pc:sldLayoutMkLst>
        </pc:sldLayoutChg>
      </pc:sldMasterChg>
    </pc:docChg>
  </pc:docChgLst>
  <pc:docChgLst>
    <pc:chgData name="Ana Blasi Sanchiz" userId="ade4f707-3308-4888-b575-5e32ac6efcc8" providerId="ADAL" clId="{A3B07BFC-1592-4049-92ED-8B13FDBD1440}"/>
    <pc:docChg chg="undo custSel addSld modSld sldOrd modMainMaster addSection modSection">
      <pc:chgData name="Ana Blasi Sanchiz" userId="ade4f707-3308-4888-b575-5e32ac6efcc8" providerId="ADAL" clId="{A3B07BFC-1592-4049-92ED-8B13FDBD1440}" dt="2024-01-08T16:42:55.553" v="400" actId="478"/>
      <pc:docMkLst>
        <pc:docMk/>
      </pc:docMkLst>
      <pc:sldChg chg="modSp mod">
        <pc:chgData name="Ana Blasi Sanchiz" userId="ade4f707-3308-4888-b575-5e32ac6efcc8" providerId="ADAL" clId="{A3B07BFC-1592-4049-92ED-8B13FDBD1440}" dt="2023-12-19T11:44:27.038" v="99" actId="20577"/>
        <pc:sldMkLst>
          <pc:docMk/>
          <pc:sldMk cId="3831175517" sldId="256"/>
        </pc:sldMkLst>
        <pc:spChg chg="mod">
          <ac:chgData name="Ana Blasi Sanchiz" userId="ade4f707-3308-4888-b575-5e32ac6efcc8" providerId="ADAL" clId="{A3B07BFC-1592-4049-92ED-8B13FDBD1440}" dt="2023-12-19T11:43:59.390" v="78" actId="20577"/>
          <ac:spMkLst>
            <pc:docMk/>
            <pc:sldMk cId="3831175517" sldId="256"/>
            <ac:spMk id="2" creationId="{B7DC3AFE-C53A-E7BD-3D84-9F2B30750E93}"/>
          </ac:spMkLst>
        </pc:spChg>
        <pc:spChg chg="mod">
          <ac:chgData name="Ana Blasi Sanchiz" userId="ade4f707-3308-4888-b575-5e32ac6efcc8" providerId="ADAL" clId="{A3B07BFC-1592-4049-92ED-8B13FDBD1440}" dt="2023-12-19T11:44:27.038" v="99" actId="20577"/>
          <ac:spMkLst>
            <pc:docMk/>
            <pc:sldMk cId="3831175517" sldId="256"/>
            <ac:spMk id="3" creationId="{B5394247-A01B-B020-74A3-B48D3A80B9E1}"/>
          </ac:spMkLst>
        </pc:spChg>
      </pc:sldChg>
      <pc:sldChg chg="modSp mod">
        <pc:chgData name="Ana Blasi Sanchiz" userId="ade4f707-3308-4888-b575-5e32ac6efcc8" providerId="ADAL" clId="{A3B07BFC-1592-4049-92ED-8B13FDBD1440}" dt="2023-12-19T11:44:35.700" v="103" actId="20577"/>
        <pc:sldMkLst>
          <pc:docMk/>
          <pc:sldMk cId="3494266724" sldId="257"/>
        </pc:sldMkLst>
        <pc:spChg chg="mod">
          <ac:chgData name="Ana Blasi Sanchiz" userId="ade4f707-3308-4888-b575-5e32ac6efcc8" providerId="ADAL" clId="{A3B07BFC-1592-4049-92ED-8B13FDBD1440}" dt="2023-12-19T11:44:13.899" v="97"/>
          <ac:spMkLst>
            <pc:docMk/>
            <pc:sldMk cId="3494266724" sldId="257"/>
            <ac:spMk id="3" creationId="{432DE3AC-8421-998F-472B-FC31EA7ACFF8}"/>
          </ac:spMkLst>
        </pc:spChg>
        <pc:spChg chg="mod">
          <ac:chgData name="Ana Blasi Sanchiz" userId="ade4f707-3308-4888-b575-5e32ac6efcc8" providerId="ADAL" clId="{A3B07BFC-1592-4049-92ED-8B13FDBD1440}" dt="2023-12-19T11:44:35.700" v="103" actId="20577"/>
          <ac:spMkLst>
            <pc:docMk/>
            <pc:sldMk cId="3494266724" sldId="257"/>
            <ac:spMk id="4" creationId="{9D27CBC8-8545-0C42-94C5-7BFC2CC86000}"/>
          </ac:spMkLst>
        </pc:spChg>
      </pc:sldChg>
      <pc:sldChg chg="modSp mod">
        <pc:chgData name="Ana Blasi Sanchiz" userId="ade4f707-3308-4888-b575-5e32ac6efcc8" providerId="ADAL" clId="{A3B07BFC-1592-4049-92ED-8B13FDBD1440}" dt="2023-12-19T11:44:33.073" v="102" actId="20577"/>
        <pc:sldMkLst>
          <pc:docMk/>
          <pc:sldMk cId="3869273846" sldId="258"/>
        </pc:sldMkLst>
        <pc:spChg chg="mod">
          <ac:chgData name="Ana Blasi Sanchiz" userId="ade4f707-3308-4888-b575-5e32ac6efcc8" providerId="ADAL" clId="{A3B07BFC-1592-4049-92ED-8B13FDBD1440}" dt="2023-12-19T11:44:17.193" v="98"/>
          <ac:spMkLst>
            <pc:docMk/>
            <pc:sldMk cId="3869273846" sldId="258"/>
            <ac:spMk id="3" creationId="{869E87CB-338E-2A3A-BEBE-367B98ACFFCF}"/>
          </ac:spMkLst>
        </pc:spChg>
        <pc:spChg chg="mod">
          <ac:chgData name="Ana Blasi Sanchiz" userId="ade4f707-3308-4888-b575-5e32ac6efcc8" providerId="ADAL" clId="{A3B07BFC-1592-4049-92ED-8B13FDBD1440}" dt="2023-12-19T11:44:33.073" v="102" actId="20577"/>
          <ac:spMkLst>
            <pc:docMk/>
            <pc:sldMk cId="3869273846" sldId="258"/>
            <ac:spMk id="4" creationId="{B9358B2B-FDEC-560A-8208-DF7127844733}"/>
          </ac:spMkLst>
        </pc:spChg>
      </pc:sldChg>
      <pc:sldChg chg="addSp delSp modSp mod modClrScheme chgLayout">
        <pc:chgData name="Ana Blasi Sanchiz" userId="ade4f707-3308-4888-b575-5e32ac6efcc8" providerId="ADAL" clId="{A3B07BFC-1592-4049-92ED-8B13FDBD1440}" dt="2023-12-18T18:19:03.110" v="45" actId="700"/>
        <pc:sldMkLst>
          <pc:docMk/>
          <pc:sldMk cId="2746521288" sldId="265"/>
        </pc:sldMkLst>
        <pc:spChg chg="mod ord">
          <ac:chgData name="Ana Blasi Sanchiz" userId="ade4f707-3308-4888-b575-5e32ac6efcc8" providerId="ADAL" clId="{A3B07BFC-1592-4049-92ED-8B13FDBD1440}" dt="2023-12-18T18:19:03.110" v="45" actId="700"/>
          <ac:spMkLst>
            <pc:docMk/>
            <pc:sldMk cId="2746521288" sldId="265"/>
            <ac:spMk id="2" creationId="{054E5978-D95B-521E-4224-8116F264DBE1}"/>
          </ac:spMkLst>
        </pc:spChg>
        <pc:spChg chg="mod ord">
          <ac:chgData name="Ana Blasi Sanchiz" userId="ade4f707-3308-4888-b575-5e32ac6efcc8" providerId="ADAL" clId="{A3B07BFC-1592-4049-92ED-8B13FDBD1440}" dt="2023-12-18T18:19:03.110" v="45" actId="700"/>
          <ac:spMkLst>
            <pc:docMk/>
            <pc:sldMk cId="2746521288" sldId="265"/>
            <ac:spMk id="3" creationId="{A5DD2B55-8439-D3A8-8D7B-941D130393E9}"/>
          </ac:spMkLst>
        </pc:spChg>
        <pc:spChg chg="mod ord">
          <ac:chgData name="Ana Blasi Sanchiz" userId="ade4f707-3308-4888-b575-5e32ac6efcc8" providerId="ADAL" clId="{A3B07BFC-1592-4049-92ED-8B13FDBD1440}" dt="2023-12-18T18:19:03.110" v="45" actId="700"/>
          <ac:spMkLst>
            <pc:docMk/>
            <pc:sldMk cId="2746521288" sldId="265"/>
            <ac:spMk id="4" creationId="{30872C0B-2C72-9936-64FA-45DB656A50A9}"/>
          </ac:spMkLst>
        </pc:spChg>
        <pc:spChg chg="mod ord">
          <ac:chgData name="Ana Blasi Sanchiz" userId="ade4f707-3308-4888-b575-5e32ac6efcc8" providerId="ADAL" clId="{A3B07BFC-1592-4049-92ED-8B13FDBD1440}" dt="2023-12-18T18:19:03.110" v="45" actId="700"/>
          <ac:spMkLst>
            <pc:docMk/>
            <pc:sldMk cId="2746521288" sldId="265"/>
            <ac:spMk id="5" creationId="{F7F173E6-9B41-71C9-EE0D-B1AAF2161B03}"/>
          </ac:spMkLst>
        </pc:spChg>
        <pc:spChg chg="add del mod ord">
          <ac:chgData name="Ana Blasi Sanchiz" userId="ade4f707-3308-4888-b575-5e32ac6efcc8" providerId="ADAL" clId="{A3B07BFC-1592-4049-92ED-8B13FDBD1440}" dt="2023-12-18T18:19:03.110" v="45" actId="700"/>
          <ac:spMkLst>
            <pc:docMk/>
            <pc:sldMk cId="2746521288" sldId="265"/>
            <ac:spMk id="6" creationId="{E4543D33-727E-4F6B-3C66-298CDE62C06F}"/>
          </ac:spMkLst>
        </pc:spChg>
      </pc:sldChg>
      <pc:sldChg chg="addSp delSp modSp mod">
        <pc:chgData name="Ana Blasi Sanchiz" userId="ade4f707-3308-4888-b575-5e32ac6efcc8" providerId="ADAL" clId="{A3B07BFC-1592-4049-92ED-8B13FDBD1440}" dt="2023-12-18T18:18:25.112" v="43" actId="478"/>
        <pc:sldMkLst>
          <pc:docMk/>
          <pc:sldMk cId="222455389" sldId="266"/>
        </pc:sldMkLst>
        <pc:spChg chg="del mod">
          <ac:chgData name="Ana Blasi Sanchiz" userId="ade4f707-3308-4888-b575-5e32ac6efcc8" providerId="ADAL" clId="{A3B07BFC-1592-4049-92ED-8B13FDBD1440}" dt="2023-12-18T18:18:19.863" v="40" actId="478"/>
          <ac:spMkLst>
            <pc:docMk/>
            <pc:sldMk cId="222455389" sldId="266"/>
            <ac:spMk id="3" creationId="{1996F8CB-64A4-A5A8-F95D-B77E063A71BF}"/>
          </ac:spMkLst>
        </pc:spChg>
        <pc:spChg chg="del mod">
          <ac:chgData name="Ana Blasi Sanchiz" userId="ade4f707-3308-4888-b575-5e32ac6efcc8" providerId="ADAL" clId="{A3B07BFC-1592-4049-92ED-8B13FDBD1440}" dt="2023-12-18T18:18:25.112" v="43" actId="478"/>
          <ac:spMkLst>
            <pc:docMk/>
            <pc:sldMk cId="222455389" sldId="266"/>
            <ac:spMk id="4" creationId="{AEF7CBD1-53B3-0BC6-74BF-2BD7096C9CD5}"/>
          </ac:spMkLst>
        </pc:spChg>
        <pc:spChg chg="add mod">
          <ac:chgData name="Ana Blasi Sanchiz" userId="ade4f707-3308-4888-b575-5e32ac6efcc8" providerId="ADAL" clId="{A3B07BFC-1592-4049-92ED-8B13FDBD1440}" dt="2023-12-18T18:18:17.380" v="39"/>
          <ac:spMkLst>
            <pc:docMk/>
            <pc:sldMk cId="222455389" sldId="266"/>
            <ac:spMk id="8" creationId="{30DE224D-1BFB-06D8-A607-85AD53294A67}"/>
          </ac:spMkLst>
        </pc:spChg>
        <pc:spChg chg="add del mod">
          <ac:chgData name="Ana Blasi Sanchiz" userId="ade4f707-3308-4888-b575-5e32ac6efcc8" providerId="ADAL" clId="{A3B07BFC-1592-4049-92ED-8B13FDBD1440}" dt="2023-12-18T18:18:22.592" v="41" actId="478"/>
          <ac:spMkLst>
            <pc:docMk/>
            <pc:sldMk cId="222455389" sldId="266"/>
            <ac:spMk id="10" creationId="{032E1189-56B1-703A-8F27-01ACD8AC14E0}"/>
          </ac:spMkLst>
        </pc:spChg>
      </pc:sldChg>
      <pc:sldChg chg="modNotesTx">
        <pc:chgData name="Ana Blasi Sanchiz" userId="ade4f707-3308-4888-b575-5e32ac6efcc8" providerId="ADAL" clId="{A3B07BFC-1592-4049-92ED-8B13FDBD1440}" dt="2024-01-08T16:30:09.466" v="377" actId="20577"/>
        <pc:sldMkLst>
          <pc:docMk/>
          <pc:sldMk cId="2619318428" sldId="267"/>
        </pc:sldMkLst>
      </pc:sldChg>
      <pc:sldChg chg="modNotesTx">
        <pc:chgData name="Ana Blasi Sanchiz" userId="ade4f707-3308-4888-b575-5e32ac6efcc8" providerId="ADAL" clId="{A3B07BFC-1592-4049-92ED-8B13FDBD1440}" dt="2024-01-08T16:30:24.651" v="378"/>
        <pc:sldMkLst>
          <pc:docMk/>
          <pc:sldMk cId="2063071196" sldId="268"/>
        </pc:sldMkLst>
      </pc:sldChg>
      <pc:sldChg chg="modNotesTx">
        <pc:chgData name="Ana Blasi Sanchiz" userId="ade4f707-3308-4888-b575-5e32ac6efcc8" providerId="ADAL" clId="{A3B07BFC-1592-4049-92ED-8B13FDBD1440}" dt="2024-01-08T16:25:50.402" v="243" actId="20577"/>
        <pc:sldMkLst>
          <pc:docMk/>
          <pc:sldMk cId="4151877612" sldId="271"/>
        </pc:sldMkLst>
      </pc:sldChg>
      <pc:sldChg chg="modSp mod">
        <pc:chgData name="Ana Blasi Sanchiz" userId="ade4f707-3308-4888-b575-5e32ac6efcc8" providerId="ADAL" clId="{A3B07BFC-1592-4049-92ED-8B13FDBD1440}" dt="2024-01-08T16:34:18.574" v="379"/>
        <pc:sldMkLst>
          <pc:docMk/>
          <pc:sldMk cId="1284213670" sldId="272"/>
        </pc:sldMkLst>
        <pc:spChg chg="mod">
          <ac:chgData name="Ana Blasi Sanchiz" userId="ade4f707-3308-4888-b575-5e32ac6efcc8" providerId="ADAL" clId="{A3B07BFC-1592-4049-92ED-8B13FDBD1440}" dt="2024-01-08T16:34:18.574" v="379"/>
          <ac:spMkLst>
            <pc:docMk/>
            <pc:sldMk cId="1284213670" sldId="272"/>
            <ac:spMk id="24" creationId="{A9FEB58A-8E02-F258-5A76-699BDAC5E7AC}"/>
          </ac:spMkLst>
        </pc:spChg>
      </pc:sldChg>
      <pc:sldChg chg="addSp delSp modSp mod modNotesTx">
        <pc:chgData name="Ana Blasi Sanchiz" userId="ade4f707-3308-4888-b575-5e32ac6efcc8" providerId="ADAL" clId="{A3B07BFC-1592-4049-92ED-8B13FDBD1440}" dt="2024-01-08T16:26:13.283" v="273" actId="20577"/>
        <pc:sldMkLst>
          <pc:docMk/>
          <pc:sldMk cId="2101858900" sldId="273"/>
        </pc:sldMkLst>
        <pc:spChg chg="del mod">
          <ac:chgData name="Ana Blasi Sanchiz" userId="ade4f707-3308-4888-b575-5e32ac6efcc8" providerId="ADAL" clId="{A3B07BFC-1592-4049-92ED-8B13FDBD1440}" dt="2023-12-20T11:08:18.071" v="134" actId="478"/>
          <ac:spMkLst>
            <pc:docMk/>
            <pc:sldMk cId="2101858900" sldId="273"/>
            <ac:spMk id="14" creationId="{B3941D93-2191-EB85-68DD-D2A7FD00EF1D}"/>
          </ac:spMkLst>
        </pc:spChg>
        <pc:spChg chg="add del mod">
          <ac:chgData name="Ana Blasi Sanchiz" userId="ade4f707-3308-4888-b575-5e32ac6efcc8" providerId="ADAL" clId="{A3B07BFC-1592-4049-92ED-8B13FDBD1440}" dt="2023-12-20T11:08:10.678" v="133" actId="478"/>
          <ac:spMkLst>
            <pc:docMk/>
            <pc:sldMk cId="2101858900" sldId="273"/>
            <ac:spMk id="15" creationId="{CDABE83A-278B-3419-A74E-7285AF74AE20}"/>
          </ac:spMkLst>
        </pc:spChg>
        <pc:spChg chg="add del mod">
          <ac:chgData name="Ana Blasi Sanchiz" userId="ade4f707-3308-4888-b575-5e32ac6efcc8" providerId="ADAL" clId="{A3B07BFC-1592-4049-92ED-8B13FDBD1440}" dt="2023-12-20T11:08:10.678" v="133" actId="478"/>
          <ac:spMkLst>
            <pc:docMk/>
            <pc:sldMk cId="2101858900" sldId="273"/>
            <ac:spMk id="16" creationId="{2E21B78B-E65D-6AD2-0E97-7848635B17B6}"/>
          </ac:spMkLst>
        </pc:spChg>
        <pc:spChg chg="del">
          <ac:chgData name="Ana Blasi Sanchiz" userId="ade4f707-3308-4888-b575-5e32ac6efcc8" providerId="ADAL" clId="{A3B07BFC-1592-4049-92ED-8B13FDBD1440}" dt="2023-12-20T11:08:18.071" v="134" actId="478"/>
          <ac:spMkLst>
            <pc:docMk/>
            <pc:sldMk cId="2101858900" sldId="273"/>
            <ac:spMk id="18" creationId="{74BE2195-406B-493C-7408-4511447C1C5B}"/>
          </ac:spMkLst>
        </pc:spChg>
        <pc:grpChg chg="mod">
          <ac:chgData name="Ana Blasi Sanchiz" userId="ade4f707-3308-4888-b575-5e32ac6efcc8" providerId="ADAL" clId="{A3B07BFC-1592-4049-92ED-8B13FDBD1440}" dt="2023-12-20T11:08:29.969" v="135" actId="1076"/>
          <ac:grpSpMkLst>
            <pc:docMk/>
            <pc:sldMk cId="2101858900" sldId="273"/>
            <ac:grpSpMk id="8" creationId="{191A7D98-7460-2E9E-4881-83CBD1750531}"/>
          </ac:grpSpMkLst>
        </pc:grpChg>
      </pc:sldChg>
      <pc:sldChg chg="modNotesTx">
        <pc:chgData name="Ana Blasi Sanchiz" userId="ade4f707-3308-4888-b575-5e32ac6efcc8" providerId="ADAL" clId="{A3B07BFC-1592-4049-92ED-8B13FDBD1440}" dt="2024-01-08T16:27:47.687" v="319" actId="20577"/>
        <pc:sldMkLst>
          <pc:docMk/>
          <pc:sldMk cId="2475390000" sldId="274"/>
        </pc:sldMkLst>
      </pc:sldChg>
      <pc:sldChg chg="modSp mod">
        <pc:chgData name="Ana Blasi Sanchiz" userId="ade4f707-3308-4888-b575-5e32ac6efcc8" providerId="ADAL" clId="{A3B07BFC-1592-4049-92ED-8B13FDBD1440}" dt="2023-12-19T12:08:16.932" v="115" actId="20577"/>
        <pc:sldMkLst>
          <pc:docMk/>
          <pc:sldMk cId="413992124" sldId="281"/>
        </pc:sldMkLst>
        <pc:spChg chg="mod">
          <ac:chgData name="Ana Blasi Sanchiz" userId="ade4f707-3308-4888-b575-5e32ac6efcc8" providerId="ADAL" clId="{A3B07BFC-1592-4049-92ED-8B13FDBD1440}" dt="2023-12-19T12:08:16.932" v="115" actId="20577"/>
          <ac:spMkLst>
            <pc:docMk/>
            <pc:sldMk cId="413992124" sldId="281"/>
            <ac:spMk id="2" creationId="{B7809DD5-3B67-C3C8-5360-901E9810CB47}"/>
          </ac:spMkLst>
        </pc:spChg>
      </pc:sldChg>
      <pc:sldChg chg="modSp mod">
        <pc:chgData name="Ana Blasi Sanchiz" userId="ade4f707-3308-4888-b575-5e32ac6efcc8" providerId="ADAL" clId="{A3B07BFC-1592-4049-92ED-8B13FDBD1440}" dt="2023-12-20T10:37:46.346" v="127" actId="20577"/>
        <pc:sldMkLst>
          <pc:docMk/>
          <pc:sldMk cId="2222758193" sldId="282"/>
        </pc:sldMkLst>
        <pc:spChg chg="mod ord">
          <ac:chgData name="Ana Blasi Sanchiz" userId="ade4f707-3308-4888-b575-5e32ac6efcc8" providerId="ADAL" clId="{A3B07BFC-1592-4049-92ED-8B13FDBD1440}" dt="2023-12-20T10:37:30.503" v="121" actId="167"/>
          <ac:spMkLst>
            <pc:docMk/>
            <pc:sldMk cId="2222758193" sldId="282"/>
            <ac:spMk id="3" creationId="{C43E122E-FE61-A502-CA23-3AA769383593}"/>
          </ac:spMkLst>
        </pc:spChg>
        <pc:graphicFrameChg chg="modGraphic">
          <ac:chgData name="Ana Blasi Sanchiz" userId="ade4f707-3308-4888-b575-5e32ac6efcc8" providerId="ADAL" clId="{A3B07BFC-1592-4049-92ED-8B13FDBD1440}" dt="2023-12-20T10:37:46.346" v="127" actId="20577"/>
          <ac:graphicFrameMkLst>
            <pc:docMk/>
            <pc:sldMk cId="2222758193" sldId="282"/>
            <ac:graphicFrameMk id="16" creationId="{0D535A8F-0267-D9E8-06E0-D09979048D43}"/>
          </ac:graphicFrameMkLst>
        </pc:graphicFrameChg>
      </pc:sldChg>
      <pc:sldChg chg="modSp mod">
        <pc:chgData name="Ana Blasi Sanchiz" userId="ade4f707-3308-4888-b575-5e32ac6efcc8" providerId="ADAL" clId="{A3B07BFC-1592-4049-92ED-8B13FDBD1440}" dt="2023-12-20T10:35:53.200" v="117" actId="1076"/>
        <pc:sldMkLst>
          <pc:docMk/>
          <pc:sldMk cId="2820351508" sldId="283"/>
        </pc:sldMkLst>
        <pc:spChg chg="mod ord">
          <ac:chgData name="Ana Blasi Sanchiz" userId="ade4f707-3308-4888-b575-5e32ac6efcc8" providerId="ADAL" clId="{A3B07BFC-1592-4049-92ED-8B13FDBD1440}" dt="2023-12-18T18:17:49.960" v="37" actId="167"/>
          <ac:spMkLst>
            <pc:docMk/>
            <pc:sldMk cId="2820351508" sldId="283"/>
            <ac:spMk id="3" creationId="{6015511F-2310-2ADF-E54E-9605930D9EF3}"/>
          </ac:spMkLst>
        </pc:spChg>
        <pc:spChg chg="mod">
          <ac:chgData name="Ana Blasi Sanchiz" userId="ade4f707-3308-4888-b575-5e32ac6efcc8" providerId="ADAL" clId="{A3B07BFC-1592-4049-92ED-8B13FDBD1440}" dt="2023-12-20T10:35:53.200" v="117" actId="1076"/>
          <ac:spMkLst>
            <pc:docMk/>
            <pc:sldMk cId="2820351508" sldId="283"/>
            <ac:spMk id="19" creationId="{5515E5D4-6BC9-651E-39DB-2DDE49235150}"/>
          </ac:spMkLst>
        </pc:spChg>
      </pc:sldChg>
      <pc:sldChg chg="modSp mod">
        <pc:chgData name="Ana Blasi Sanchiz" userId="ade4f707-3308-4888-b575-5e32ac6efcc8" providerId="ADAL" clId="{A3B07BFC-1592-4049-92ED-8B13FDBD1440}" dt="2024-01-08T16:41:57.853" v="383" actId="1076"/>
        <pc:sldMkLst>
          <pc:docMk/>
          <pc:sldMk cId="2322669567" sldId="2147480870"/>
        </pc:sldMkLst>
        <pc:spChg chg="mod">
          <ac:chgData name="Ana Blasi Sanchiz" userId="ade4f707-3308-4888-b575-5e32ac6efcc8" providerId="ADAL" clId="{A3B07BFC-1592-4049-92ED-8B13FDBD1440}" dt="2024-01-08T16:41:57.853" v="383" actId="1076"/>
          <ac:spMkLst>
            <pc:docMk/>
            <pc:sldMk cId="2322669567" sldId="2147480870"/>
            <ac:spMk id="2" creationId="{7CBDC865-EAD7-1FE8-BF91-AAE8EFFD6DF9}"/>
          </ac:spMkLst>
        </pc:spChg>
      </pc:sldChg>
      <pc:sldChg chg="modSp new mod ord">
        <pc:chgData name="Ana Blasi Sanchiz" userId="ade4f707-3308-4888-b575-5e32ac6efcc8" providerId="ADAL" clId="{A3B07BFC-1592-4049-92ED-8B13FDBD1440}" dt="2023-12-29T12:36:11.803" v="159"/>
        <pc:sldMkLst>
          <pc:docMk/>
          <pc:sldMk cId="1561388618" sldId="2147480871"/>
        </pc:sldMkLst>
        <pc:spChg chg="mod">
          <ac:chgData name="Ana Blasi Sanchiz" userId="ade4f707-3308-4888-b575-5e32ac6efcc8" providerId="ADAL" clId="{A3B07BFC-1592-4049-92ED-8B13FDBD1440}" dt="2023-12-21T14:42:25.667" v="154" actId="20577"/>
          <ac:spMkLst>
            <pc:docMk/>
            <pc:sldMk cId="1561388618" sldId="2147480871"/>
            <ac:spMk id="2" creationId="{4A625992-B251-83ED-4870-DD8C4C5B5F51}"/>
          </ac:spMkLst>
        </pc:spChg>
        <pc:spChg chg="mod">
          <ac:chgData name="Ana Blasi Sanchiz" userId="ade4f707-3308-4888-b575-5e32ac6efcc8" providerId="ADAL" clId="{A3B07BFC-1592-4049-92ED-8B13FDBD1440}" dt="2023-12-29T12:36:11.803" v="159"/>
          <ac:spMkLst>
            <pc:docMk/>
            <pc:sldMk cId="1561388618" sldId="2147480871"/>
            <ac:spMk id="6" creationId="{0F5E3F46-8981-3F70-5F89-D319D624022D}"/>
          </ac:spMkLst>
        </pc:spChg>
      </pc:sldChg>
      <pc:sldMasterChg chg="delSp mod modSldLayout">
        <pc:chgData name="Ana Blasi Sanchiz" userId="ade4f707-3308-4888-b575-5e32ac6efcc8" providerId="ADAL" clId="{A3B07BFC-1592-4049-92ED-8B13FDBD1440}" dt="2024-01-08T16:42:55.553" v="400" actId="478"/>
        <pc:sldMasterMkLst>
          <pc:docMk/>
          <pc:sldMasterMk cId="2201614670" sldId="2147483659"/>
        </pc:sldMasterMkLst>
        <pc:cxnChg chg="del">
          <ac:chgData name="Ana Blasi Sanchiz" userId="ade4f707-3308-4888-b575-5e32ac6efcc8" providerId="ADAL" clId="{A3B07BFC-1592-4049-92ED-8B13FDBD1440}" dt="2023-12-18T18:19:42.367" v="46" actId="478"/>
          <ac:cxnSpMkLst>
            <pc:docMk/>
            <pc:sldMasterMk cId="2201614670" sldId="2147483659"/>
            <ac:cxnSpMk id="7" creationId="{198841BC-B4DE-243A-CAFB-F49DC5F76382}"/>
          </ac:cxnSpMkLst>
        </pc:cxnChg>
        <pc:sldLayoutChg chg="delSp mod">
          <pc:chgData name="Ana Blasi Sanchiz" userId="ade4f707-3308-4888-b575-5e32ac6efcc8" providerId="ADAL" clId="{A3B07BFC-1592-4049-92ED-8B13FDBD1440}" dt="2024-01-08T16:42:17.771" v="385" actId="478"/>
          <pc:sldLayoutMkLst>
            <pc:docMk/>
            <pc:sldMasterMk cId="2201614670" sldId="2147483659"/>
            <pc:sldLayoutMk cId="380938790" sldId="2147483664"/>
          </pc:sldLayoutMkLst>
          <pc:spChg chg="del">
            <ac:chgData name="Ana Blasi Sanchiz" userId="ade4f707-3308-4888-b575-5e32ac6efcc8" providerId="ADAL" clId="{A3B07BFC-1592-4049-92ED-8B13FDBD1440}" dt="2024-01-08T16:42:17.771" v="385" actId="478"/>
            <ac:spMkLst>
              <pc:docMk/>
              <pc:sldMasterMk cId="2201614670" sldId="2147483659"/>
              <pc:sldLayoutMk cId="380938790" sldId="2147483664"/>
              <ac:spMk id="4" creationId="{7F5FDC76-F946-4827-A773-FCD68068B859}"/>
            </ac:spMkLst>
          </pc:spChg>
        </pc:sldLayoutChg>
        <pc:sldLayoutChg chg="delSp mod">
          <pc:chgData name="Ana Blasi Sanchiz" userId="ade4f707-3308-4888-b575-5e32ac6efcc8" providerId="ADAL" clId="{A3B07BFC-1592-4049-92ED-8B13FDBD1440}" dt="2024-01-08T16:42:53.415" v="399" actId="478"/>
          <pc:sldLayoutMkLst>
            <pc:docMk/>
            <pc:sldMasterMk cId="2201614670" sldId="2147483659"/>
            <pc:sldLayoutMk cId="1721094763" sldId="2147483668"/>
          </pc:sldLayoutMkLst>
          <pc:spChg chg="del">
            <ac:chgData name="Ana Blasi Sanchiz" userId="ade4f707-3308-4888-b575-5e32ac6efcc8" providerId="ADAL" clId="{A3B07BFC-1592-4049-92ED-8B13FDBD1440}" dt="2024-01-08T16:42:53.415" v="399" actId="478"/>
            <ac:spMkLst>
              <pc:docMk/>
              <pc:sldMasterMk cId="2201614670" sldId="2147483659"/>
              <pc:sldLayoutMk cId="1721094763" sldId="2147483668"/>
              <ac:spMk id="3" creationId="{61AB04F4-59F4-4102-9BBD-DB62B48E184D}"/>
            </ac:spMkLst>
          </pc:spChg>
        </pc:sldLayoutChg>
        <pc:sldLayoutChg chg="delSp mod">
          <pc:chgData name="Ana Blasi Sanchiz" userId="ade4f707-3308-4888-b575-5e32ac6efcc8" providerId="ADAL" clId="{A3B07BFC-1592-4049-92ED-8B13FDBD1440}" dt="2024-01-08T16:42:55.553" v="400" actId="478"/>
          <pc:sldLayoutMkLst>
            <pc:docMk/>
            <pc:sldMasterMk cId="2201614670" sldId="2147483659"/>
            <pc:sldLayoutMk cId="4056174540" sldId="2147483669"/>
          </pc:sldLayoutMkLst>
          <pc:spChg chg="del">
            <ac:chgData name="Ana Blasi Sanchiz" userId="ade4f707-3308-4888-b575-5e32ac6efcc8" providerId="ADAL" clId="{A3B07BFC-1592-4049-92ED-8B13FDBD1440}" dt="2024-01-08T16:42:55.553" v="400" actId="478"/>
            <ac:spMkLst>
              <pc:docMk/>
              <pc:sldMasterMk cId="2201614670" sldId="2147483659"/>
              <pc:sldLayoutMk cId="4056174540" sldId="2147483669"/>
              <ac:spMk id="3" creationId="{C7C562FF-E912-4424-B259-AED677C026AF}"/>
            </ac:spMkLst>
          </pc:spChg>
        </pc:sldLayoutChg>
        <pc:sldLayoutChg chg="delSp mod">
          <pc:chgData name="Ana Blasi Sanchiz" userId="ade4f707-3308-4888-b575-5e32ac6efcc8" providerId="ADAL" clId="{A3B07BFC-1592-4049-92ED-8B13FDBD1440}" dt="2024-01-08T16:42:13.312" v="384" actId="478"/>
          <pc:sldLayoutMkLst>
            <pc:docMk/>
            <pc:sldMasterMk cId="2201614670" sldId="2147483659"/>
            <pc:sldLayoutMk cId="1746205330" sldId="2147483676"/>
          </pc:sldLayoutMkLst>
          <pc:spChg chg="del">
            <ac:chgData name="Ana Blasi Sanchiz" userId="ade4f707-3308-4888-b575-5e32ac6efcc8" providerId="ADAL" clId="{A3B07BFC-1592-4049-92ED-8B13FDBD1440}" dt="2024-01-08T16:42:13.312" v="384" actId="478"/>
            <ac:spMkLst>
              <pc:docMk/>
              <pc:sldMasterMk cId="2201614670" sldId="2147483659"/>
              <pc:sldLayoutMk cId="1746205330" sldId="2147483676"/>
              <ac:spMk id="6" creationId="{ED7373D8-2AB5-4625-822C-B1F2B5CDC39C}"/>
            </ac:spMkLst>
          </pc:spChg>
        </pc:sldLayoutChg>
        <pc:sldLayoutChg chg="delSp mod">
          <pc:chgData name="Ana Blasi Sanchiz" userId="ade4f707-3308-4888-b575-5e32ac6efcc8" providerId="ADAL" clId="{A3B07BFC-1592-4049-92ED-8B13FDBD1440}" dt="2024-01-08T16:42:21.044" v="386" actId="478"/>
          <pc:sldLayoutMkLst>
            <pc:docMk/>
            <pc:sldMasterMk cId="2201614670" sldId="2147483659"/>
            <pc:sldLayoutMk cId="872910482" sldId="2147483677"/>
          </pc:sldLayoutMkLst>
          <pc:spChg chg="del">
            <ac:chgData name="Ana Blasi Sanchiz" userId="ade4f707-3308-4888-b575-5e32ac6efcc8" providerId="ADAL" clId="{A3B07BFC-1592-4049-92ED-8B13FDBD1440}" dt="2024-01-08T16:42:21.044" v="386" actId="478"/>
            <ac:spMkLst>
              <pc:docMk/>
              <pc:sldMasterMk cId="2201614670" sldId="2147483659"/>
              <pc:sldLayoutMk cId="872910482" sldId="2147483677"/>
              <ac:spMk id="6" creationId="{12B54F7E-BDC4-4386-B2E2-1FC66609D14F}"/>
            </ac:spMkLst>
          </pc:spChg>
        </pc:sldLayoutChg>
        <pc:sldLayoutChg chg="addSp delSp modSp mod">
          <pc:chgData name="Ana Blasi Sanchiz" userId="ade4f707-3308-4888-b575-5e32ac6efcc8" providerId="ADAL" clId="{A3B07BFC-1592-4049-92ED-8B13FDBD1440}" dt="2024-01-08T16:42:38.374" v="393" actId="478"/>
          <pc:sldLayoutMkLst>
            <pc:docMk/>
            <pc:sldMasterMk cId="2201614670" sldId="2147483659"/>
            <pc:sldLayoutMk cId="565122940" sldId="2147483688"/>
          </pc:sldLayoutMkLst>
          <pc:spChg chg="del">
            <ac:chgData name="Ana Blasi Sanchiz" userId="ade4f707-3308-4888-b575-5e32ac6efcc8" providerId="ADAL" clId="{A3B07BFC-1592-4049-92ED-8B13FDBD1440}" dt="2024-01-08T16:42:38.374" v="393" actId="478"/>
            <ac:spMkLst>
              <pc:docMk/>
              <pc:sldMasterMk cId="2201614670" sldId="2147483659"/>
              <pc:sldLayoutMk cId="565122940" sldId="2147483688"/>
              <ac:spMk id="4" creationId="{B34CA048-4C69-97C2-D5D5-72DAB42EE08F}"/>
            </ac:spMkLst>
          </pc:spChg>
          <pc:cxnChg chg="add mod">
            <ac:chgData name="Ana Blasi Sanchiz" userId="ade4f707-3308-4888-b575-5e32ac6efcc8" providerId="ADAL" clId="{A3B07BFC-1592-4049-92ED-8B13FDBD1440}" dt="2023-12-18T18:20:01.589" v="55"/>
            <ac:cxnSpMkLst>
              <pc:docMk/>
              <pc:sldMasterMk cId="2201614670" sldId="2147483659"/>
              <pc:sldLayoutMk cId="565122940" sldId="2147483688"/>
              <ac:cxnSpMk id="6" creationId="{43AF7A8F-2A95-3CDD-660C-E2B0A914FD12}"/>
            </ac:cxnSpMkLst>
          </pc:cxnChg>
        </pc:sldLayoutChg>
        <pc:sldLayoutChg chg="addSp delSp modSp mod">
          <pc:chgData name="Ana Blasi Sanchiz" userId="ade4f707-3308-4888-b575-5e32ac6efcc8" providerId="ADAL" clId="{A3B07BFC-1592-4049-92ED-8B13FDBD1440}" dt="2024-01-08T16:42:42.242" v="395" actId="478"/>
          <pc:sldLayoutMkLst>
            <pc:docMk/>
            <pc:sldMasterMk cId="2201614670" sldId="2147483659"/>
            <pc:sldLayoutMk cId="2647812609" sldId="2147483689"/>
          </pc:sldLayoutMkLst>
          <pc:spChg chg="del">
            <ac:chgData name="Ana Blasi Sanchiz" userId="ade4f707-3308-4888-b575-5e32ac6efcc8" providerId="ADAL" clId="{A3B07BFC-1592-4049-92ED-8B13FDBD1440}" dt="2024-01-08T16:42:42.242" v="395" actId="478"/>
            <ac:spMkLst>
              <pc:docMk/>
              <pc:sldMasterMk cId="2201614670" sldId="2147483659"/>
              <pc:sldLayoutMk cId="2647812609" sldId="2147483689"/>
              <ac:spMk id="4" creationId="{B34CA048-4C69-97C2-D5D5-72DAB42EE08F}"/>
            </ac:spMkLst>
          </pc:spChg>
          <pc:cxnChg chg="add mod">
            <ac:chgData name="Ana Blasi Sanchiz" userId="ade4f707-3308-4888-b575-5e32ac6efcc8" providerId="ADAL" clId="{A3B07BFC-1592-4049-92ED-8B13FDBD1440}" dt="2023-12-18T18:20:04.101" v="57"/>
            <ac:cxnSpMkLst>
              <pc:docMk/>
              <pc:sldMasterMk cId="2201614670" sldId="2147483659"/>
              <pc:sldLayoutMk cId="2647812609" sldId="2147483689"/>
              <ac:cxnSpMk id="6" creationId="{D988CF23-F245-66BD-6710-E427C1559E02}"/>
            </ac:cxnSpMkLst>
          </pc:cxnChg>
        </pc:sldLayoutChg>
        <pc:sldLayoutChg chg="delSp mod">
          <pc:chgData name="Ana Blasi Sanchiz" userId="ade4f707-3308-4888-b575-5e32ac6efcc8" providerId="ADAL" clId="{A3B07BFC-1592-4049-92ED-8B13FDBD1440}" dt="2024-01-08T16:42:23.773" v="387" actId="478"/>
          <pc:sldLayoutMkLst>
            <pc:docMk/>
            <pc:sldMasterMk cId="2201614670" sldId="2147483659"/>
            <pc:sldLayoutMk cId="2725497737" sldId="2147483691"/>
          </pc:sldLayoutMkLst>
          <pc:spChg chg="del">
            <ac:chgData name="Ana Blasi Sanchiz" userId="ade4f707-3308-4888-b575-5e32ac6efcc8" providerId="ADAL" clId="{A3B07BFC-1592-4049-92ED-8B13FDBD1440}" dt="2024-01-08T16:42:23.773" v="387" actId="478"/>
            <ac:spMkLst>
              <pc:docMk/>
              <pc:sldMasterMk cId="2201614670" sldId="2147483659"/>
              <pc:sldLayoutMk cId="2725497737" sldId="2147483691"/>
              <ac:spMk id="6" creationId="{12B54F7E-BDC4-4386-B2E2-1FC66609D14F}"/>
            </ac:spMkLst>
          </pc:spChg>
        </pc:sldLayoutChg>
        <pc:sldLayoutChg chg="addSp delSp modSp mod">
          <pc:chgData name="Ana Blasi Sanchiz" userId="ade4f707-3308-4888-b575-5e32ac6efcc8" providerId="ADAL" clId="{A3B07BFC-1592-4049-92ED-8B13FDBD1440}" dt="2024-01-08T16:42:40.031" v="394" actId="478"/>
          <pc:sldLayoutMkLst>
            <pc:docMk/>
            <pc:sldMasterMk cId="2201614670" sldId="2147483659"/>
            <pc:sldLayoutMk cId="2980276802" sldId="2147483692"/>
          </pc:sldLayoutMkLst>
          <pc:spChg chg="del">
            <ac:chgData name="Ana Blasi Sanchiz" userId="ade4f707-3308-4888-b575-5e32ac6efcc8" providerId="ADAL" clId="{A3B07BFC-1592-4049-92ED-8B13FDBD1440}" dt="2024-01-08T16:42:40.031" v="394" actId="478"/>
            <ac:spMkLst>
              <pc:docMk/>
              <pc:sldMasterMk cId="2201614670" sldId="2147483659"/>
              <pc:sldLayoutMk cId="2980276802" sldId="2147483692"/>
              <ac:spMk id="4" creationId="{5DC32045-01AB-27F7-0273-CEAC9E68F62C}"/>
            </ac:spMkLst>
          </pc:spChg>
          <pc:cxnChg chg="add mod">
            <ac:chgData name="Ana Blasi Sanchiz" userId="ade4f707-3308-4888-b575-5e32ac6efcc8" providerId="ADAL" clId="{A3B07BFC-1592-4049-92ED-8B13FDBD1440}" dt="2023-12-18T18:20:03.004" v="56"/>
            <ac:cxnSpMkLst>
              <pc:docMk/>
              <pc:sldMasterMk cId="2201614670" sldId="2147483659"/>
              <pc:sldLayoutMk cId="2980276802" sldId="2147483692"/>
              <ac:cxnSpMk id="16" creationId="{D8BC05B3-1622-6684-D055-79F6DE6BC60A}"/>
            </ac:cxnSpMkLst>
          </pc:cxnChg>
        </pc:sldLayoutChg>
        <pc:sldLayoutChg chg="addSp delSp modSp mod">
          <pc:chgData name="Ana Blasi Sanchiz" userId="ade4f707-3308-4888-b575-5e32ac6efcc8" providerId="ADAL" clId="{A3B07BFC-1592-4049-92ED-8B13FDBD1440}" dt="2024-01-08T16:42:27.532" v="388" actId="478"/>
          <pc:sldLayoutMkLst>
            <pc:docMk/>
            <pc:sldMasterMk cId="2201614670" sldId="2147483659"/>
            <pc:sldLayoutMk cId="2249344544" sldId="2147483693"/>
          </pc:sldLayoutMkLst>
          <pc:spChg chg="del">
            <ac:chgData name="Ana Blasi Sanchiz" userId="ade4f707-3308-4888-b575-5e32ac6efcc8" providerId="ADAL" clId="{A3B07BFC-1592-4049-92ED-8B13FDBD1440}" dt="2024-01-08T16:42:27.532" v="388" actId="478"/>
            <ac:spMkLst>
              <pc:docMk/>
              <pc:sldMasterMk cId="2201614670" sldId="2147483659"/>
              <pc:sldLayoutMk cId="2249344544" sldId="2147483693"/>
              <ac:spMk id="6" creationId="{12B54F7E-BDC4-4386-B2E2-1FC66609D14F}"/>
            </ac:spMkLst>
          </pc:spChg>
          <pc:cxnChg chg="add mod">
            <ac:chgData name="Ana Blasi Sanchiz" userId="ade4f707-3308-4888-b575-5e32ac6efcc8" providerId="ADAL" clId="{A3B07BFC-1592-4049-92ED-8B13FDBD1440}" dt="2023-12-18T18:19:53.848" v="51" actId="1035"/>
            <ac:cxnSpMkLst>
              <pc:docMk/>
              <pc:sldMasterMk cId="2201614670" sldId="2147483659"/>
              <pc:sldLayoutMk cId="2249344544" sldId="2147483693"/>
              <ac:cxnSpMk id="3" creationId="{2BE3B831-560A-9DA1-92D6-20839917E27E}"/>
            </ac:cxnSpMkLst>
          </pc:cxnChg>
        </pc:sldLayoutChg>
        <pc:sldLayoutChg chg="addSp delSp modSp mod">
          <pc:chgData name="Ana Blasi Sanchiz" userId="ade4f707-3308-4888-b575-5e32ac6efcc8" providerId="ADAL" clId="{A3B07BFC-1592-4049-92ED-8B13FDBD1440}" dt="2024-01-08T16:42:49.108" v="398" actId="478"/>
          <pc:sldLayoutMkLst>
            <pc:docMk/>
            <pc:sldMasterMk cId="2201614670" sldId="2147483659"/>
            <pc:sldLayoutMk cId="3984784081" sldId="2147483694"/>
          </pc:sldLayoutMkLst>
          <pc:spChg chg="del">
            <ac:chgData name="Ana Blasi Sanchiz" userId="ade4f707-3308-4888-b575-5e32ac6efcc8" providerId="ADAL" clId="{A3B07BFC-1592-4049-92ED-8B13FDBD1440}" dt="2024-01-08T16:42:49.108" v="398" actId="478"/>
            <ac:spMkLst>
              <pc:docMk/>
              <pc:sldMasterMk cId="2201614670" sldId="2147483659"/>
              <pc:sldLayoutMk cId="3984784081" sldId="2147483694"/>
              <ac:spMk id="4" creationId="{9EBB83F9-373E-A84A-68E4-0377CD4E1E36}"/>
            </ac:spMkLst>
          </pc:spChg>
          <pc:cxnChg chg="add mod">
            <ac:chgData name="Ana Blasi Sanchiz" userId="ade4f707-3308-4888-b575-5e32ac6efcc8" providerId="ADAL" clId="{A3B07BFC-1592-4049-92ED-8B13FDBD1440}" dt="2023-12-18T18:20:08.722" v="60"/>
            <ac:cxnSpMkLst>
              <pc:docMk/>
              <pc:sldMasterMk cId="2201614670" sldId="2147483659"/>
              <pc:sldLayoutMk cId="3984784081" sldId="2147483694"/>
              <ac:cxnSpMk id="7" creationId="{8AFCB20E-B625-8C76-B3D0-9B202E318CCD}"/>
            </ac:cxnSpMkLst>
          </pc:cxnChg>
        </pc:sldLayoutChg>
        <pc:sldLayoutChg chg="addSp delSp modSp mod">
          <pc:chgData name="Ana Blasi Sanchiz" userId="ade4f707-3308-4888-b575-5e32ac6efcc8" providerId="ADAL" clId="{A3B07BFC-1592-4049-92ED-8B13FDBD1440}" dt="2024-01-08T16:42:45.091" v="396" actId="478"/>
          <pc:sldLayoutMkLst>
            <pc:docMk/>
            <pc:sldMasterMk cId="2201614670" sldId="2147483659"/>
            <pc:sldLayoutMk cId="379603716" sldId="2147483695"/>
          </pc:sldLayoutMkLst>
          <pc:spChg chg="del">
            <ac:chgData name="Ana Blasi Sanchiz" userId="ade4f707-3308-4888-b575-5e32ac6efcc8" providerId="ADAL" clId="{A3B07BFC-1592-4049-92ED-8B13FDBD1440}" dt="2024-01-08T16:42:45.091" v="396" actId="478"/>
            <ac:spMkLst>
              <pc:docMk/>
              <pc:sldMasterMk cId="2201614670" sldId="2147483659"/>
              <pc:sldLayoutMk cId="379603716" sldId="2147483695"/>
              <ac:spMk id="4" creationId="{51FDD991-0305-98E5-1F99-93E2A5CCD042}"/>
            </ac:spMkLst>
          </pc:spChg>
          <pc:cxnChg chg="add mod">
            <ac:chgData name="Ana Blasi Sanchiz" userId="ade4f707-3308-4888-b575-5e32ac6efcc8" providerId="ADAL" clId="{A3B07BFC-1592-4049-92ED-8B13FDBD1440}" dt="2023-12-18T18:20:05.572" v="58"/>
            <ac:cxnSpMkLst>
              <pc:docMk/>
              <pc:sldMasterMk cId="2201614670" sldId="2147483659"/>
              <pc:sldLayoutMk cId="379603716" sldId="2147483695"/>
              <ac:cxnSpMk id="6" creationId="{A90365E2-0563-F296-AE26-C82468C1F4A4}"/>
            </ac:cxnSpMkLst>
          </pc:cxnChg>
        </pc:sldLayoutChg>
        <pc:sldLayoutChg chg="addSp delSp modSp mod">
          <pc:chgData name="Ana Blasi Sanchiz" userId="ade4f707-3308-4888-b575-5e32ac6efcc8" providerId="ADAL" clId="{A3B07BFC-1592-4049-92ED-8B13FDBD1440}" dt="2024-01-08T16:42:47.256" v="397" actId="478"/>
          <pc:sldLayoutMkLst>
            <pc:docMk/>
            <pc:sldMasterMk cId="2201614670" sldId="2147483659"/>
            <pc:sldLayoutMk cId="2300727021" sldId="2147483696"/>
          </pc:sldLayoutMkLst>
          <pc:spChg chg="del">
            <ac:chgData name="Ana Blasi Sanchiz" userId="ade4f707-3308-4888-b575-5e32ac6efcc8" providerId="ADAL" clId="{A3B07BFC-1592-4049-92ED-8B13FDBD1440}" dt="2024-01-08T16:42:47.256" v="397" actId="478"/>
            <ac:spMkLst>
              <pc:docMk/>
              <pc:sldMasterMk cId="2201614670" sldId="2147483659"/>
              <pc:sldLayoutMk cId="2300727021" sldId="2147483696"/>
              <ac:spMk id="4" creationId="{017A350A-35DB-6B2B-015B-A54A74BB8645}"/>
            </ac:spMkLst>
          </pc:spChg>
          <pc:cxnChg chg="add mod">
            <ac:chgData name="Ana Blasi Sanchiz" userId="ade4f707-3308-4888-b575-5e32ac6efcc8" providerId="ADAL" clId="{A3B07BFC-1592-4049-92ED-8B13FDBD1440}" dt="2023-12-18T18:20:07.327" v="59"/>
            <ac:cxnSpMkLst>
              <pc:docMk/>
              <pc:sldMasterMk cId="2201614670" sldId="2147483659"/>
              <pc:sldLayoutMk cId="2300727021" sldId="2147483696"/>
              <ac:cxnSpMk id="7" creationId="{ED54D606-7B86-5D28-68CE-74577E1A3262}"/>
            </ac:cxnSpMkLst>
          </pc:cxnChg>
        </pc:sldLayoutChg>
        <pc:sldLayoutChg chg="addSp modSp">
          <pc:chgData name="Ana Blasi Sanchiz" userId="ade4f707-3308-4888-b575-5e32ac6efcc8" providerId="ADAL" clId="{A3B07BFC-1592-4049-92ED-8B13FDBD1440}" dt="2023-12-18T18:19:46.668" v="47"/>
          <pc:sldLayoutMkLst>
            <pc:docMk/>
            <pc:sldMasterMk cId="2201614670" sldId="2147483659"/>
            <pc:sldLayoutMk cId="1812055454" sldId="2147483697"/>
          </pc:sldLayoutMkLst>
          <pc:cxnChg chg="add mod">
            <ac:chgData name="Ana Blasi Sanchiz" userId="ade4f707-3308-4888-b575-5e32ac6efcc8" providerId="ADAL" clId="{A3B07BFC-1592-4049-92ED-8B13FDBD1440}" dt="2023-12-18T18:19:46.668" v="47"/>
            <ac:cxnSpMkLst>
              <pc:docMk/>
              <pc:sldMasterMk cId="2201614670" sldId="2147483659"/>
              <pc:sldLayoutMk cId="1812055454" sldId="2147483697"/>
              <ac:cxnSpMk id="4" creationId="{BC71DD6A-2D80-A8CF-FC20-26D3822D35C5}"/>
            </ac:cxnSpMkLst>
          </pc:cxnChg>
        </pc:sldLayoutChg>
        <pc:sldLayoutChg chg="addSp delSp modSp mod">
          <pc:chgData name="Ana Blasi Sanchiz" userId="ade4f707-3308-4888-b575-5e32ac6efcc8" providerId="ADAL" clId="{A3B07BFC-1592-4049-92ED-8B13FDBD1440}" dt="2024-01-08T16:42:30.383" v="390" actId="478"/>
          <pc:sldLayoutMkLst>
            <pc:docMk/>
            <pc:sldMasterMk cId="2201614670" sldId="2147483659"/>
            <pc:sldLayoutMk cId="2685098852" sldId="2147483698"/>
          </pc:sldLayoutMkLst>
          <pc:spChg chg="del mod">
            <ac:chgData name="Ana Blasi Sanchiz" userId="ade4f707-3308-4888-b575-5e32ac6efcc8" providerId="ADAL" clId="{A3B07BFC-1592-4049-92ED-8B13FDBD1440}" dt="2024-01-08T16:42:30.383" v="390" actId="478"/>
            <ac:spMkLst>
              <pc:docMk/>
              <pc:sldMasterMk cId="2201614670" sldId="2147483659"/>
              <pc:sldLayoutMk cId="2685098852" sldId="2147483698"/>
              <ac:spMk id="4" creationId="{B34CA048-4C69-97C2-D5D5-72DAB42EE08F}"/>
            </ac:spMkLst>
          </pc:spChg>
          <pc:cxnChg chg="add mod">
            <ac:chgData name="Ana Blasi Sanchiz" userId="ade4f707-3308-4888-b575-5e32ac6efcc8" providerId="ADAL" clId="{A3B07BFC-1592-4049-92ED-8B13FDBD1440}" dt="2023-12-18T18:19:55.584" v="52"/>
            <ac:cxnSpMkLst>
              <pc:docMk/>
              <pc:sldMasterMk cId="2201614670" sldId="2147483659"/>
              <pc:sldLayoutMk cId="2685098852" sldId="2147483698"/>
              <ac:cxnSpMk id="6" creationId="{9BDE5FE2-3818-1B49-3D58-0A6FC1DAA143}"/>
            </ac:cxnSpMkLst>
          </pc:cxnChg>
        </pc:sldLayoutChg>
        <pc:sldLayoutChg chg="addSp delSp modSp mod">
          <pc:chgData name="Ana Blasi Sanchiz" userId="ade4f707-3308-4888-b575-5e32ac6efcc8" providerId="ADAL" clId="{A3B07BFC-1592-4049-92ED-8B13FDBD1440}" dt="2024-01-08T16:42:33.574" v="391" actId="478"/>
          <pc:sldLayoutMkLst>
            <pc:docMk/>
            <pc:sldMasterMk cId="2201614670" sldId="2147483659"/>
            <pc:sldLayoutMk cId="2869471690" sldId="2147483699"/>
          </pc:sldLayoutMkLst>
          <pc:spChg chg="del">
            <ac:chgData name="Ana Blasi Sanchiz" userId="ade4f707-3308-4888-b575-5e32ac6efcc8" providerId="ADAL" clId="{A3B07BFC-1592-4049-92ED-8B13FDBD1440}" dt="2024-01-08T16:42:33.574" v="391" actId="478"/>
            <ac:spMkLst>
              <pc:docMk/>
              <pc:sldMasterMk cId="2201614670" sldId="2147483659"/>
              <pc:sldLayoutMk cId="2869471690" sldId="2147483699"/>
              <ac:spMk id="4" creationId="{7F6326C5-0F83-DA3A-98B1-FCF61413B553}"/>
            </ac:spMkLst>
          </pc:spChg>
          <pc:cxnChg chg="add mod">
            <ac:chgData name="Ana Blasi Sanchiz" userId="ade4f707-3308-4888-b575-5e32ac6efcc8" providerId="ADAL" clId="{A3B07BFC-1592-4049-92ED-8B13FDBD1440}" dt="2023-12-18T18:19:57.668" v="53"/>
            <ac:cxnSpMkLst>
              <pc:docMk/>
              <pc:sldMasterMk cId="2201614670" sldId="2147483659"/>
              <pc:sldLayoutMk cId="2869471690" sldId="2147483699"/>
              <ac:cxnSpMk id="6" creationId="{B72056B0-F7B4-0155-2001-F4B33370DFB0}"/>
            </ac:cxnSpMkLst>
          </pc:cxnChg>
        </pc:sldLayoutChg>
        <pc:sldLayoutChg chg="addSp delSp modSp mod">
          <pc:chgData name="Ana Blasi Sanchiz" userId="ade4f707-3308-4888-b575-5e32ac6efcc8" providerId="ADAL" clId="{A3B07BFC-1592-4049-92ED-8B13FDBD1440}" dt="2024-01-08T16:42:36.480" v="392" actId="478"/>
          <pc:sldLayoutMkLst>
            <pc:docMk/>
            <pc:sldMasterMk cId="2201614670" sldId="2147483659"/>
            <pc:sldLayoutMk cId="1551057373" sldId="2147483700"/>
          </pc:sldLayoutMkLst>
          <pc:spChg chg="del">
            <ac:chgData name="Ana Blasi Sanchiz" userId="ade4f707-3308-4888-b575-5e32ac6efcc8" providerId="ADAL" clId="{A3B07BFC-1592-4049-92ED-8B13FDBD1440}" dt="2024-01-08T16:42:36.480" v="392" actId="478"/>
            <ac:spMkLst>
              <pc:docMk/>
              <pc:sldMasterMk cId="2201614670" sldId="2147483659"/>
              <pc:sldLayoutMk cId="1551057373" sldId="2147483700"/>
              <ac:spMk id="4" creationId="{4FFB2D7A-C056-85CA-DEE0-2DD99564ECA1}"/>
            </ac:spMkLst>
          </pc:spChg>
          <pc:cxnChg chg="add mod">
            <ac:chgData name="Ana Blasi Sanchiz" userId="ade4f707-3308-4888-b575-5e32ac6efcc8" providerId="ADAL" clId="{A3B07BFC-1592-4049-92ED-8B13FDBD1440}" dt="2023-12-18T18:19:59.846" v="54"/>
            <ac:cxnSpMkLst>
              <pc:docMk/>
              <pc:sldMasterMk cId="2201614670" sldId="2147483659"/>
              <pc:sldLayoutMk cId="1551057373" sldId="2147483700"/>
              <ac:cxnSpMk id="6" creationId="{265C34C2-8C5D-537A-80C0-D73F8A65BD92}"/>
            </ac:cxnSpMkLst>
          </pc:cxnChg>
        </pc:sldLayoutChg>
      </pc:sldMasterChg>
    </pc:docChg>
  </pc:docChgLst>
  <pc:docChgLst>
    <pc:chgData name="Ana Blasi Sanchiz" userId="ade4f707-3308-4888-b575-5e32ac6efcc8" providerId="ADAL" clId="{3FCB68A5-A67A-4BCA-BD68-164F6017F65A}"/>
    <pc:docChg chg="undo redo custSel addSld delSld modSld sldOrd modMainMaster addSection modSection">
      <pc:chgData name="Ana Blasi Sanchiz" userId="ade4f707-3308-4888-b575-5e32ac6efcc8" providerId="ADAL" clId="{3FCB68A5-A67A-4BCA-BD68-164F6017F65A}" dt="2023-12-12T22:19:07.585" v="921" actId="20577"/>
      <pc:docMkLst>
        <pc:docMk/>
      </pc:docMkLst>
      <pc:sldChg chg="addSp delSp modSp ord">
        <pc:chgData name="Ana Blasi Sanchiz" userId="ade4f707-3308-4888-b575-5e32ac6efcc8" providerId="ADAL" clId="{3FCB68A5-A67A-4BCA-BD68-164F6017F65A}" dt="2023-11-28T15:09:10.156" v="115"/>
        <pc:sldMkLst>
          <pc:docMk/>
          <pc:sldMk cId="3831175517" sldId="256"/>
        </pc:sldMkLst>
        <pc:spChg chg="mod">
          <ac:chgData name="Ana Blasi Sanchiz" userId="ade4f707-3308-4888-b575-5e32ac6efcc8" providerId="ADAL" clId="{3FCB68A5-A67A-4BCA-BD68-164F6017F65A}" dt="2023-11-28T15:09:09.022" v="114"/>
          <ac:spMkLst>
            <pc:docMk/>
            <pc:sldMk cId="3831175517" sldId="256"/>
            <ac:spMk id="5" creationId="{01459B1F-DD97-682C-DC79-46D37BC224C1}"/>
          </ac:spMkLst>
        </pc:spChg>
        <pc:spChg chg="mod">
          <ac:chgData name="Ana Blasi Sanchiz" userId="ade4f707-3308-4888-b575-5e32ac6efcc8" providerId="ADAL" clId="{3FCB68A5-A67A-4BCA-BD68-164F6017F65A}" dt="2023-11-28T15:09:09.022" v="114"/>
          <ac:spMkLst>
            <pc:docMk/>
            <pc:sldMk cId="3831175517" sldId="256"/>
            <ac:spMk id="6" creationId="{9747B41C-9903-7D08-3CE6-C1EB85AAB8B1}"/>
          </ac:spMkLst>
        </pc:spChg>
        <pc:spChg chg="mod">
          <ac:chgData name="Ana Blasi Sanchiz" userId="ade4f707-3308-4888-b575-5e32ac6efcc8" providerId="ADAL" clId="{3FCB68A5-A67A-4BCA-BD68-164F6017F65A}" dt="2023-11-28T15:09:09.022" v="114"/>
          <ac:spMkLst>
            <pc:docMk/>
            <pc:sldMk cId="3831175517" sldId="256"/>
            <ac:spMk id="7" creationId="{E092A3BD-AC83-799B-DF17-5B7B20EE3D27}"/>
          </ac:spMkLst>
        </pc:spChg>
        <pc:spChg chg="mod">
          <ac:chgData name="Ana Blasi Sanchiz" userId="ade4f707-3308-4888-b575-5e32ac6efcc8" providerId="ADAL" clId="{3FCB68A5-A67A-4BCA-BD68-164F6017F65A}" dt="2023-11-28T15:09:09.022" v="114"/>
          <ac:spMkLst>
            <pc:docMk/>
            <pc:sldMk cId="3831175517" sldId="256"/>
            <ac:spMk id="9" creationId="{61417BAB-D7BA-0115-426B-3911E972911A}"/>
          </ac:spMkLst>
        </pc:spChg>
        <pc:spChg chg="mod">
          <ac:chgData name="Ana Blasi Sanchiz" userId="ade4f707-3308-4888-b575-5e32ac6efcc8" providerId="ADAL" clId="{3FCB68A5-A67A-4BCA-BD68-164F6017F65A}" dt="2023-11-28T15:09:09.022" v="114"/>
          <ac:spMkLst>
            <pc:docMk/>
            <pc:sldMk cId="3831175517" sldId="256"/>
            <ac:spMk id="10" creationId="{2052E0B1-F413-D9E5-3159-2C4B52EE70F0}"/>
          </ac:spMkLst>
        </pc:spChg>
        <pc:spChg chg="mod">
          <ac:chgData name="Ana Blasi Sanchiz" userId="ade4f707-3308-4888-b575-5e32ac6efcc8" providerId="ADAL" clId="{3FCB68A5-A67A-4BCA-BD68-164F6017F65A}" dt="2023-11-28T15:09:09.022" v="114"/>
          <ac:spMkLst>
            <pc:docMk/>
            <pc:sldMk cId="3831175517" sldId="256"/>
            <ac:spMk id="11" creationId="{E4382A39-FE06-5CFF-E155-B59C594FDA64}"/>
          </ac:spMkLst>
        </pc:spChg>
        <pc:grpChg chg="add del mod">
          <ac:chgData name="Ana Blasi Sanchiz" userId="ade4f707-3308-4888-b575-5e32ac6efcc8" providerId="ADAL" clId="{3FCB68A5-A67A-4BCA-BD68-164F6017F65A}" dt="2023-11-28T15:09:10.156" v="115"/>
          <ac:grpSpMkLst>
            <pc:docMk/>
            <pc:sldMk cId="3831175517" sldId="256"/>
            <ac:grpSpMk id="4" creationId="{DBE0B684-8F9E-C4DC-8342-436888EEAD7C}"/>
          </ac:grpSpMkLst>
        </pc:grpChg>
        <pc:grpChg chg="add del mod">
          <ac:chgData name="Ana Blasi Sanchiz" userId="ade4f707-3308-4888-b575-5e32ac6efcc8" providerId="ADAL" clId="{3FCB68A5-A67A-4BCA-BD68-164F6017F65A}" dt="2023-11-28T15:09:10.156" v="115"/>
          <ac:grpSpMkLst>
            <pc:docMk/>
            <pc:sldMk cId="3831175517" sldId="256"/>
            <ac:grpSpMk id="8" creationId="{6B6E91CE-C869-1A89-C18E-F770426C6A47}"/>
          </ac:grpSpMkLst>
        </pc:grpChg>
      </pc:sldChg>
      <pc:sldChg chg="ord">
        <pc:chgData name="Ana Blasi Sanchiz" userId="ade4f707-3308-4888-b575-5e32ac6efcc8" providerId="ADAL" clId="{3FCB68A5-A67A-4BCA-BD68-164F6017F65A}" dt="2023-11-28T15:09:05.206" v="113"/>
        <pc:sldMkLst>
          <pc:docMk/>
          <pc:sldMk cId="3494266724" sldId="257"/>
        </pc:sldMkLst>
      </pc:sldChg>
      <pc:sldChg chg="addSp delSp modSp ord">
        <pc:chgData name="Ana Blasi Sanchiz" userId="ade4f707-3308-4888-b575-5e32ac6efcc8" providerId="ADAL" clId="{3FCB68A5-A67A-4BCA-BD68-164F6017F65A}" dt="2023-11-28T15:09:22.704" v="119"/>
        <pc:sldMkLst>
          <pc:docMk/>
          <pc:sldMk cId="3869273846" sldId="258"/>
        </pc:sldMkLst>
        <pc:spChg chg="mod">
          <ac:chgData name="Ana Blasi Sanchiz" userId="ade4f707-3308-4888-b575-5e32ac6efcc8" providerId="ADAL" clId="{3FCB68A5-A67A-4BCA-BD68-164F6017F65A}" dt="2023-11-28T15:09:22.033" v="118"/>
          <ac:spMkLst>
            <pc:docMk/>
            <pc:sldMk cId="3869273846" sldId="258"/>
            <ac:spMk id="7" creationId="{1E05DEC3-8EE0-C54A-9956-16BB080DD2AF}"/>
          </ac:spMkLst>
        </pc:spChg>
        <pc:spChg chg="mod">
          <ac:chgData name="Ana Blasi Sanchiz" userId="ade4f707-3308-4888-b575-5e32ac6efcc8" providerId="ADAL" clId="{3FCB68A5-A67A-4BCA-BD68-164F6017F65A}" dt="2023-11-28T15:09:22.033" v="118"/>
          <ac:spMkLst>
            <pc:docMk/>
            <pc:sldMk cId="3869273846" sldId="258"/>
            <ac:spMk id="8" creationId="{045F4E68-1C70-7B89-B820-EBCC4ED4FA50}"/>
          </ac:spMkLst>
        </pc:spChg>
        <pc:spChg chg="mod">
          <ac:chgData name="Ana Blasi Sanchiz" userId="ade4f707-3308-4888-b575-5e32ac6efcc8" providerId="ADAL" clId="{3FCB68A5-A67A-4BCA-BD68-164F6017F65A}" dt="2023-11-28T15:09:22.033" v="118"/>
          <ac:spMkLst>
            <pc:docMk/>
            <pc:sldMk cId="3869273846" sldId="258"/>
            <ac:spMk id="9" creationId="{194D44C9-0213-5628-BAE4-1E07D4604EA8}"/>
          </ac:spMkLst>
        </pc:spChg>
        <pc:spChg chg="mod">
          <ac:chgData name="Ana Blasi Sanchiz" userId="ade4f707-3308-4888-b575-5e32ac6efcc8" providerId="ADAL" clId="{3FCB68A5-A67A-4BCA-BD68-164F6017F65A}" dt="2023-11-28T15:09:22.033" v="118"/>
          <ac:spMkLst>
            <pc:docMk/>
            <pc:sldMk cId="3869273846" sldId="258"/>
            <ac:spMk id="11" creationId="{A5F678D8-10AD-3B78-5AD8-57C70D4739EF}"/>
          </ac:spMkLst>
        </pc:spChg>
        <pc:spChg chg="mod">
          <ac:chgData name="Ana Blasi Sanchiz" userId="ade4f707-3308-4888-b575-5e32ac6efcc8" providerId="ADAL" clId="{3FCB68A5-A67A-4BCA-BD68-164F6017F65A}" dt="2023-11-28T15:09:22.033" v="118"/>
          <ac:spMkLst>
            <pc:docMk/>
            <pc:sldMk cId="3869273846" sldId="258"/>
            <ac:spMk id="12" creationId="{A16FFFE2-EB5E-4BA1-50BB-D2775BA93F64}"/>
          </ac:spMkLst>
        </pc:spChg>
        <pc:spChg chg="mod">
          <ac:chgData name="Ana Blasi Sanchiz" userId="ade4f707-3308-4888-b575-5e32ac6efcc8" providerId="ADAL" clId="{3FCB68A5-A67A-4BCA-BD68-164F6017F65A}" dt="2023-11-28T15:09:22.033" v="118"/>
          <ac:spMkLst>
            <pc:docMk/>
            <pc:sldMk cId="3869273846" sldId="258"/>
            <ac:spMk id="13" creationId="{6A3735FF-1154-A8EF-2D5F-87DE3C6507CC}"/>
          </ac:spMkLst>
        </pc:spChg>
        <pc:grpChg chg="add del mod">
          <ac:chgData name="Ana Blasi Sanchiz" userId="ade4f707-3308-4888-b575-5e32ac6efcc8" providerId="ADAL" clId="{3FCB68A5-A67A-4BCA-BD68-164F6017F65A}" dt="2023-11-28T15:09:22.704" v="119"/>
          <ac:grpSpMkLst>
            <pc:docMk/>
            <pc:sldMk cId="3869273846" sldId="258"/>
            <ac:grpSpMk id="6" creationId="{2EE7BD7D-2020-2B15-CFD8-CEB9B4D79FC1}"/>
          </ac:grpSpMkLst>
        </pc:grpChg>
        <pc:grpChg chg="add del mod">
          <ac:chgData name="Ana Blasi Sanchiz" userId="ade4f707-3308-4888-b575-5e32ac6efcc8" providerId="ADAL" clId="{3FCB68A5-A67A-4BCA-BD68-164F6017F65A}" dt="2023-11-28T15:09:22.704" v="119"/>
          <ac:grpSpMkLst>
            <pc:docMk/>
            <pc:sldMk cId="3869273846" sldId="258"/>
            <ac:grpSpMk id="10" creationId="{D2C954F4-7253-0901-D243-5C86818BAD6D}"/>
          </ac:grpSpMkLst>
        </pc:grpChg>
        <pc:picChg chg="add del">
          <ac:chgData name="Ana Blasi Sanchiz" userId="ade4f707-3308-4888-b575-5e32ac6efcc8" providerId="ADAL" clId="{3FCB68A5-A67A-4BCA-BD68-164F6017F65A}" dt="2023-11-28T15:09:14.532" v="117"/>
          <ac:picMkLst>
            <pc:docMk/>
            <pc:sldMk cId="3869273846" sldId="258"/>
            <ac:picMk id="5" creationId="{EF579ECB-1E0F-8C0B-35F9-0DB8E47A12F8}"/>
          </ac:picMkLst>
        </pc:picChg>
      </pc:sldChg>
      <pc:sldChg chg="modSp mod">
        <pc:chgData name="Ana Blasi Sanchiz" userId="ade4f707-3308-4888-b575-5e32ac6efcc8" providerId="ADAL" clId="{3FCB68A5-A67A-4BCA-BD68-164F6017F65A}" dt="2023-12-12T22:12:15.435" v="816" actId="20577"/>
        <pc:sldMkLst>
          <pc:docMk/>
          <pc:sldMk cId="1901158683" sldId="262"/>
        </pc:sldMkLst>
        <pc:spChg chg="mod">
          <ac:chgData name="Ana Blasi Sanchiz" userId="ade4f707-3308-4888-b575-5e32ac6efcc8" providerId="ADAL" clId="{3FCB68A5-A67A-4BCA-BD68-164F6017F65A}" dt="2023-12-12T22:11:46.648" v="781" actId="20577"/>
          <ac:spMkLst>
            <pc:docMk/>
            <pc:sldMk cId="1901158683" sldId="262"/>
            <ac:spMk id="6" creationId="{EAA402A8-BD59-1203-AE63-1F5245B809CD}"/>
          </ac:spMkLst>
        </pc:spChg>
        <pc:spChg chg="mod">
          <ac:chgData name="Ana Blasi Sanchiz" userId="ade4f707-3308-4888-b575-5e32ac6efcc8" providerId="ADAL" clId="{3FCB68A5-A67A-4BCA-BD68-164F6017F65A}" dt="2023-12-12T22:12:00.856" v="798" actId="20577"/>
          <ac:spMkLst>
            <pc:docMk/>
            <pc:sldMk cId="1901158683" sldId="262"/>
            <ac:spMk id="9" creationId="{3DAEE0D0-AA6A-6A93-776F-55B6B52DD0AC}"/>
          </ac:spMkLst>
        </pc:spChg>
        <pc:spChg chg="mod">
          <ac:chgData name="Ana Blasi Sanchiz" userId="ade4f707-3308-4888-b575-5e32ac6efcc8" providerId="ADAL" clId="{3FCB68A5-A67A-4BCA-BD68-164F6017F65A}" dt="2023-12-12T22:12:07.019" v="808" actId="20577"/>
          <ac:spMkLst>
            <pc:docMk/>
            <pc:sldMk cId="1901158683" sldId="262"/>
            <ac:spMk id="12" creationId="{6C3D13ED-F25C-D54B-09BA-30664A796843}"/>
          </ac:spMkLst>
        </pc:spChg>
        <pc:spChg chg="mod">
          <ac:chgData name="Ana Blasi Sanchiz" userId="ade4f707-3308-4888-b575-5e32ac6efcc8" providerId="ADAL" clId="{3FCB68A5-A67A-4BCA-BD68-164F6017F65A}" dt="2023-12-12T22:12:11.437" v="812" actId="20577"/>
          <ac:spMkLst>
            <pc:docMk/>
            <pc:sldMk cId="1901158683" sldId="262"/>
            <ac:spMk id="15" creationId="{09623073-B8FA-AFA5-E568-EBB740B3E56D}"/>
          </ac:spMkLst>
        </pc:spChg>
        <pc:spChg chg="mod">
          <ac:chgData name="Ana Blasi Sanchiz" userId="ade4f707-3308-4888-b575-5e32ac6efcc8" providerId="ADAL" clId="{3FCB68A5-A67A-4BCA-BD68-164F6017F65A}" dt="2023-12-12T22:12:15.435" v="816" actId="20577"/>
          <ac:spMkLst>
            <pc:docMk/>
            <pc:sldMk cId="1901158683" sldId="262"/>
            <ac:spMk id="18" creationId="{B5534403-10EE-9C0B-C98B-D935E979E02E}"/>
          </ac:spMkLst>
        </pc:spChg>
      </pc:sldChg>
      <pc:sldChg chg="modSp mod">
        <pc:chgData name="Ana Blasi Sanchiz" userId="ade4f707-3308-4888-b575-5e32ac6efcc8" providerId="ADAL" clId="{3FCB68A5-A67A-4BCA-BD68-164F6017F65A}" dt="2023-12-12T22:13:16.709" v="852"/>
        <pc:sldMkLst>
          <pc:docMk/>
          <pc:sldMk cId="737499137" sldId="263"/>
        </pc:sldMkLst>
        <pc:spChg chg="mod">
          <ac:chgData name="Ana Blasi Sanchiz" userId="ade4f707-3308-4888-b575-5e32ac6efcc8" providerId="ADAL" clId="{3FCB68A5-A67A-4BCA-BD68-164F6017F65A}" dt="2023-12-12T22:13:10.956" v="850" actId="20577"/>
          <ac:spMkLst>
            <pc:docMk/>
            <pc:sldMk cId="737499137" sldId="263"/>
            <ac:spMk id="7" creationId="{29FDCFC1-D6DC-EAE6-D071-5DA592D58353}"/>
          </ac:spMkLst>
        </pc:spChg>
        <pc:spChg chg="mod">
          <ac:chgData name="Ana Blasi Sanchiz" userId="ade4f707-3308-4888-b575-5e32ac6efcc8" providerId="ADAL" clId="{3FCB68A5-A67A-4BCA-BD68-164F6017F65A}" dt="2023-12-12T22:13:16.709" v="852"/>
          <ac:spMkLst>
            <pc:docMk/>
            <pc:sldMk cId="737499137" sldId="263"/>
            <ac:spMk id="10" creationId="{4B353E64-EB3A-8354-C698-03E2919CADA1}"/>
          </ac:spMkLst>
        </pc:spChg>
      </pc:sldChg>
      <pc:sldChg chg="ord">
        <pc:chgData name="Ana Blasi Sanchiz" userId="ade4f707-3308-4888-b575-5e32ac6efcc8" providerId="ADAL" clId="{3FCB68A5-A67A-4BCA-BD68-164F6017F65A}" dt="2023-11-28T15:07:32.604" v="107"/>
        <pc:sldMkLst>
          <pc:docMk/>
          <pc:sldMk cId="175525001" sldId="264"/>
        </pc:sldMkLst>
      </pc:sldChg>
      <pc:sldChg chg="modSp mod">
        <pc:chgData name="Ana Blasi Sanchiz" userId="ade4f707-3308-4888-b575-5e32ac6efcc8" providerId="ADAL" clId="{3FCB68A5-A67A-4BCA-BD68-164F6017F65A}" dt="2023-12-12T22:09:58.807" v="724"/>
        <pc:sldMkLst>
          <pc:docMk/>
          <pc:sldMk cId="2619318428" sldId="267"/>
        </pc:sldMkLst>
        <pc:spChg chg="mod">
          <ac:chgData name="Ana Blasi Sanchiz" userId="ade4f707-3308-4888-b575-5e32ac6efcc8" providerId="ADAL" clId="{3FCB68A5-A67A-4BCA-BD68-164F6017F65A}" dt="2023-12-12T22:09:40.463" v="710"/>
          <ac:spMkLst>
            <pc:docMk/>
            <pc:sldMk cId="2619318428" sldId="267"/>
            <ac:spMk id="10" creationId="{956F8107-FB7C-104A-7424-4A58DCD53826}"/>
          </ac:spMkLst>
        </pc:spChg>
        <pc:spChg chg="mod">
          <ac:chgData name="Ana Blasi Sanchiz" userId="ade4f707-3308-4888-b575-5e32ac6efcc8" providerId="ADAL" clId="{3FCB68A5-A67A-4BCA-BD68-164F6017F65A}" dt="2023-12-12T22:09:43.386" v="712"/>
          <ac:spMkLst>
            <pc:docMk/>
            <pc:sldMk cId="2619318428" sldId="267"/>
            <ac:spMk id="11" creationId="{E5AD9680-15B0-6BD5-6EDF-ABB9975BC070}"/>
          </ac:spMkLst>
        </pc:spChg>
        <pc:spChg chg="mod">
          <ac:chgData name="Ana Blasi Sanchiz" userId="ade4f707-3308-4888-b575-5e32ac6efcc8" providerId="ADAL" clId="{3FCB68A5-A67A-4BCA-BD68-164F6017F65A}" dt="2023-12-12T22:09:45.454" v="714"/>
          <ac:spMkLst>
            <pc:docMk/>
            <pc:sldMk cId="2619318428" sldId="267"/>
            <ac:spMk id="12" creationId="{225056BF-539C-E4D6-780A-5196CEF7E042}"/>
          </ac:spMkLst>
        </pc:spChg>
        <pc:spChg chg="mod">
          <ac:chgData name="Ana Blasi Sanchiz" userId="ade4f707-3308-4888-b575-5e32ac6efcc8" providerId="ADAL" clId="{3FCB68A5-A67A-4BCA-BD68-164F6017F65A}" dt="2023-12-12T22:09:47.987" v="716"/>
          <ac:spMkLst>
            <pc:docMk/>
            <pc:sldMk cId="2619318428" sldId="267"/>
            <ac:spMk id="13" creationId="{E55C0463-9B2C-B9E5-85DC-20C014BA08A7}"/>
          </ac:spMkLst>
        </pc:spChg>
        <pc:spChg chg="mod">
          <ac:chgData name="Ana Blasi Sanchiz" userId="ade4f707-3308-4888-b575-5e32ac6efcc8" providerId="ADAL" clId="{3FCB68A5-A67A-4BCA-BD68-164F6017F65A}" dt="2023-12-12T22:09:58.807" v="724"/>
          <ac:spMkLst>
            <pc:docMk/>
            <pc:sldMk cId="2619318428" sldId="267"/>
            <ac:spMk id="15" creationId="{D0DBDB85-31C4-A41B-6261-0447FA1263B3}"/>
          </ac:spMkLst>
        </pc:spChg>
        <pc:spChg chg="mod">
          <ac:chgData name="Ana Blasi Sanchiz" userId="ade4f707-3308-4888-b575-5e32ac6efcc8" providerId="ADAL" clId="{3FCB68A5-A67A-4BCA-BD68-164F6017F65A}" dt="2023-12-12T22:09:55.915" v="722"/>
          <ac:spMkLst>
            <pc:docMk/>
            <pc:sldMk cId="2619318428" sldId="267"/>
            <ac:spMk id="16" creationId="{FFB9E1FC-30BA-741E-DCCE-592817D75A38}"/>
          </ac:spMkLst>
        </pc:spChg>
        <pc:spChg chg="mod">
          <ac:chgData name="Ana Blasi Sanchiz" userId="ade4f707-3308-4888-b575-5e32ac6efcc8" providerId="ADAL" clId="{3FCB68A5-A67A-4BCA-BD68-164F6017F65A}" dt="2023-12-12T22:09:53.087" v="720"/>
          <ac:spMkLst>
            <pc:docMk/>
            <pc:sldMk cId="2619318428" sldId="267"/>
            <ac:spMk id="17" creationId="{0C9F5123-4F2E-D67B-337D-4F424D889571}"/>
          </ac:spMkLst>
        </pc:spChg>
        <pc:spChg chg="mod">
          <ac:chgData name="Ana Blasi Sanchiz" userId="ade4f707-3308-4888-b575-5e32ac6efcc8" providerId="ADAL" clId="{3FCB68A5-A67A-4BCA-BD68-164F6017F65A}" dt="2023-12-12T22:09:51.142" v="718"/>
          <ac:spMkLst>
            <pc:docMk/>
            <pc:sldMk cId="2619318428" sldId="267"/>
            <ac:spMk id="18" creationId="{78BB7D8F-DBC9-1F1B-5300-F451BA597378}"/>
          </ac:spMkLst>
        </pc:spChg>
      </pc:sldChg>
      <pc:sldChg chg="modSp mod">
        <pc:chgData name="Ana Blasi Sanchiz" userId="ade4f707-3308-4888-b575-5e32ac6efcc8" providerId="ADAL" clId="{3FCB68A5-A67A-4BCA-BD68-164F6017F65A}" dt="2023-12-12T22:09:35.625" v="708"/>
        <pc:sldMkLst>
          <pc:docMk/>
          <pc:sldMk cId="2063071196" sldId="268"/>
        </pc:sldMkLst>
        <pc:spChg chg="mod">
          <ac:chgData name="Ana Blasi Sanchiz" userId="ade4f707-3308-4888-b575-5e32ac6efcc8" providerId="ADAL" clId="{3FCB68A5-A67A-4BCA-BD68-164F6017F65A}" dt="2023-11-29T15:49:01.518" v="322" actId="14100"/>
          <ac:spMkLst>
            <pc:docMk/>
            <pc:sldMk cId="2063071196" sldId="268"/>
            <ac:spMk id="14" creationId="{E58102D9-244B-0A5A-039F-D77C94BCEA26}"/>
          </ac:spMkLst>
        </pc:spChg>
        <pc:spChg chg="mod">
          <ac:chgData name="Ana Blasi Sanchiz" userId="ade4f707-3308-4888-b575-5e32ac6efcc8" providerId="ADAL" clId="{3FCB68A5-A67A-4BCA-BD68-164F6017F65A}" dt="2023-12-12T22:09:15.182" v="698" actId="20577"/>
          <ac:spMkLst>
            <pc:docMk/>
            <pc:sldMk cId="2063071196" sldId="268"/>
            <ac:spMk id="17" creationId="{75AF703F-0DFD-C65E-7642-13746033CCDC}"/>
          </ac:spMkLst>
        </pc:spChg>
        <pc:spChg chg="mod">
          <ac:chgData name="Ana Blasi Sanchiz" userId="ade4f707-3308-4888-b575-5e32ac6efcc8" providerId="ADAL" clId="{3FCB68A5-A67A-4BCA-BD68-164F6017F65A}" dt="2023-12-12T22:09:27.624" v="702"/>
          <ac:spMkLst>
            <pc:docMk/>
            <pc:sldMk cId="2063071196" sldId="268"/>
            <ac:spMk id="18" creationId="{BAD7F6BF-FBA3-543F-9EBA-C9B28B6EB7C6}"/>
          </ac:spMkLst>
        </pc:spChg>
        <pc:spChg chg="mod">
          <ac:chgData name="Ana Blasi Sanchiz" userId="ade4f707-3308-4888-b575-5e32ac6efcc8" providerId="ADAL" clId="{3FCB68A5-A67A-4BCA-BD68-164F6017F65A}" dt="2023-12-12T22:09:30.108" v="704"/>
          <ac:spMkLst>
            <pc:docMk/>
            <pc:sldMk cId="2063071196" sldId="268"/>
            <ac:spMk id="19" creationId="{D2ED00C2-8B7B-A51E-B09F-0DA747EC2861}"/>
          </ac:spMkLst>
        </pc:spChg>
        <pc:spChg chg="mod">
          <ac:chgData name="Ana Blasi Sanchiz" userId="ade4f707-3308-4888-b575-5e32ac6efcc8" providerId="ADAL" clId="{3FCB68A5-A67A-4BCA-BD68-164F6017F65A}" dt="2023-12-12T22:09:23.895" v="700"/>
          <ac:spMkLst>
            <pc:docMk/>
            <pc:sldMk cId="2063071196" sldId="268"/>
            <ac:spMk id="20" creationId="{24F160FD-0FBC-8139-88F4-2075C2F69D7C}"/>
          </ac:spMkLst>
        </pc:spChg>
        <pc:spChg chg="mod">
          <ac:chgData name="Ana Blasi Sanchiz" userId="ade4f707-3308-4888-b575-5e32ac6efcc8" providerId="ADAL" clId="{3FCB68A5-A67A-4BCA-BD68-164F6017F65A}" dt="2023-12-12T22:09:35.625" v="708"/>
          <ac:spMkLst>
            <pc:docMk/>
            <pc:sldMk cId="2063071196" sldId="268"/>
            <ac:spMk id="21" creationId="{41E13BAD-012C-44AE-A172-A738BCF9A1EB}"/>
          </ac:spMkLst>
        </pc:spChg>
        <pc:spChg chg="mod">
          <ac:chgData name="Ana Blasi Sanchiz" userId="ade4f707-3308-4888-b575-5e32ac6efcc8" providerId="ADAL" clId="{3FCB68A5-A67A-4BCA-BD68-164F6017F65A}" dt="2023-12-12T22:09:33.615" v="706"/>
          <ac:spMkLst>
            <pc:docMk/>
            <pc:sldMk cId="2063071196" sldId="268"/>
            <ac:spMk id="22" creationId="{71F3D371-39AE-40FE-32E2-32FD6B14D2D9}"/>
          </ac:spMkLst>
        </pc:spChg>
      </pc:sldChg>
      <pc:sldChg chg="modSp mod modNotesTx">
        <pc:chgData name="Ana Blasi Sanchiz" userId="ade4f707-3308-4888-b575-5e32ac6efcc8" providerId="ADAL" clId="{3FCB68A5-A67A-4BCA-BD68-164F6017F65A}" dt="2023-12-12T22:10:19.369" v="738" actId="20577"/>
        <pc:sldMkLst>
          <pc:docMk/>
          <pc:sldMk cId="4151877612" sldId="271"/>
        </pc:sldMkLst>
        <pc:spChg chg="mod">
          <ac:chgData name="Ana Blasi Sanchiz" userId="ade4f707-3308-4888-b575-5e32ac6efcc8" providerId="ADAL" clId="{3FCB68A5-A67A-4BCA-BD68-164F6017F65A}" dt="2023-12-11T17:06:34.801" v="428" actId="20577"/>
          <ac:spMkLst>
            <pc:docMk/>
            <pc:sldMk cId="4151877612" sldId="271"/>
            <ac:spMk id="17" creationId="{07C93EA2-2AE6-3F11-2998-A2C8910C54DD}"/>
          </ac:spMkLst>
        </pc:spChg>
        <pc:spChg chg="mod">
          <ac:chgData name="Ana Blasi Sanchiz" userId="ade4f707-3308-4888-b575-5e32ac6efcc8" providerId="ADAL" clId="{3FCB68A5-A67A-4BCA-BD68-164F6017F65A}" dt="2023-12-12T22:10:09.145" v="730" actId="20577"/>
          <ac:spMkLst>
            <pc:docMk/>
            <pc:sldMk cId="4151877612" sldId="271"/>
            <ac:spMk id="21" creationId="{0235A388-EEFC-169F-ABFA-13A15EDE2687}"/>
          </ac:spMkLst>
        </pc:spChg>
        <pc:spChg chg="mod">
          <ac:chgData name="Ana Blasi Sanchiz" userId="ade4f707-3308-4888-b575-5e32ac6efcc8" providerId="ADAL" clId="{3FCB68A5-A67A-4BCA-BD68-164F6017F65A}" dt="2023-12-12T22:10:14.122" v="734" actId="20577"/>
          <ac:spMkLst>
            <pc:docMk/>
            <pc:sldMk cId="4151877612" sldId="271"/>
            <ac:spMk id="22" creationId="{BD567FFF-13A2-0EA4-54DE-D71E9850F8C0}"/>
          </ac:spMkLst>
        </pc:spChg>
        <pc:spChg chg="mod">
          <ac:chgData name="Ana Blasi Sanchiz" userId="ade4f707-3308-4888-b575-5e32ac6efcc8" providerId="ADAL" clId="{3FCB68A5-A67A-4BCA-BD68-164F6017F65A}" dt="2023-12-12T22:10:19.369" v="738" actId="20577"/>
          <ac:spMkLst>
            <pc:docMk/>
            <pc:sldMk cId="4151877612" sldId="271"/>
            <ac:spMk id="23" creationId="{04DBE0FA-E896-4077-45D7-FABA19CCC1E7}"/>
          </ac:spMkLst>
        </pc:spChg>
      </pc:sldChg>
      <pc:sldChg chg="modSp mod">
        <pc:chgData name="Ana Blasi Sanchiz" userId="ade4f707-3308-4888-b575-5e32ac6efcc8" providerId="ADAL" clId="{3FCB68A5-A67A-4BCA-BD68-164F6017F65A}" dt="2023-12-12T22:19:07.585" v="921" actId="20577"/>
        <pc:sldMkLst>
          <pc:docMk/>
          <pc:sldMk cId="1284213670" sldId="272"/>
        </pc:sldMkLst>
        <pc:spChg chg="mod">
          <ac:chgData name="Ana Blasi Sanchiz" userId="ade4f707-3308-4888-b575-5e32ac6efcc8" providerId="ADAL" clId="{3FCB68A5-A67A-4BCA-BD68-164F6017F65A}" dt="2023-12-12T22:12:38.105" v="828" actId="20577"/>
          <ac:spMkLst>
            <pc:docMk/>
            <pc:sldMk cId="1284213670" sldId="272"/>
            <ac:spMk id="23" creationId="{B78F8B1B-186F-11C4-7B26-A7ABE96DD927}"/>
          </ac:spMkLst>
        </pc:spChg>
        <pc:spChg chg="mod">
          <ac:chgData name="Ana Blasi Sanchiz" userId="ade4f707-3308-4888-b575-5e32ac6efcc8" providerId="ADAL" clId="{3FCB68A5-A67A-4BCA-BD68-164F6017F65A}" dt="2023-12-12T22:19:07.585" v="921" actId="20577"/>
          <ac:spMkLst>
            <pc:docMk/>
            <pc:sldMk cId="1284213670" sldId="272"/>
            <ac:spMk id="24" creationId="{A9FEB58A-8E02-F258-5A76-699BDAC5E7AC}"/>
          </ac:spMkLst>
        </pc:spChg>
        <pc:spChg chg="mod">
          <ac:chgData name="Ana Blasi Sanchiz" userId="ade4f707-3308-4888-b575-5e32ac6efcc8" providerId="ADAL" clId="{3FCB68A5-A67A-4BCA-BD68-164F6017F65A}" dt="2023-12-12T22:12:41.207" v="832" actId="20577"/>
          <ac:spMkLst>
            <pc:docMk/>
            <pc:sldMk cId="1284213670" sldId="272"/>
            <ac:spMk id="25" creationId="{E32FC967-7700-0523-8BAA-442D8C2A32C3}"/>
          </ac:spMkLst>
        </pc:spChg>
        <pc:spChg chg="mod">
          <ac:chgData name="Ana Blasi Sanchiz" userId="ade4f707-3308-4888-b575-5e32ac6efcc8" providerId="ADAL" clId="{3FCB68A5-A67A-4BCA-BD68-164F6017F65A}" dt="2023-12-12T22:12:52.858" v="836" actId="20577"/>
          <ac:spMkLst>
            <pc:docMk/>
            <pc:sldMk cId="1284213670" sldId="272"/>
            <ac:spMk id="27" creationId="{7F0B3BE6-AD1D-1DC0-0262-79FFB35B291A}"/>
          </ac:spMkLst>
        </pc:spChg>
        <pc:spChg chg="mod">
          <ac:chgData name="Ana Blasi Sanchiz" userId="ade4f707-3308-4888-b575-5e32ac6efcc8" providerId="ADAL" clId="{3FCB68A5-A67A-4BCA-BD68-164F6017F65A}" dt="2023-12-12T22:12:56.713" v="842" actId="20577"/>
          <ac:spMkLst>
            <pc:docMk/>
            <pc:sldMk cId="1284213670" sldId="272"/>
            <ac:spMk id="29" creationId="{73D16048-8D4C-C05C-FC8B-7F5B33572D6E}"/>
          </ac:spMkLst>
        </pc:spChg>
        <pc:grpChg chg="mod">
          <ac:chgData name="Ana Blasi Sanchiz" userId="ade4f707-3308-4888-b575-5e32ac6efcc8" providerId="ADAL" clId="{3FCB68A5-A67A-4BCA-BD68-164F6017F65A}" dt="2023-12-01T09:13:22.202" v="353" actId="1076"/>
          <ac:grpSpMkLst>
            <pc:docMk/>
            <pc:sldMk cId="1284213670" sldId="272"/>
            <ac:grpSpMk id="30" creationId="{85E8889B-05FB-901F-6C90-DDF05A862E01}"/>
          </ac:grpSpMkLst>
        </pc:grpChg>
      </pc:sldChg>
      <pc:sldChg chg="addSp delSp modSp mod modNotesTx">
        <pc:chgData name="Ana Blasi Sanchiz" userId="ade4f707-3308-4888-b575-5e32ac6efcc8" providerId="ADAL" clId="{3FCB68A5-A67A-4BCA-BD68-164F6017F65A}" dt="2023-12-12T22:10:31.521" v="746"/>
        <pc:sldMkLst>
          <pc:docMk/>
          <pc:sldMk cId="2101858900" sldId="273"/>
        </pc:sldMkLst>
        <pc:spChg chg="add mod">
          <ac:chgData name="Ana Blasi Sanchiz" userId="ade4f707-3308-4888-b575-5e32ac6efcc8" providerId="ADAL" clId="{3FCB68A5-A67A-4BCA-BD68-164F6017F65A}" dt="2023-11-28T14:47:02.873" v="2" actId="164"/>
          <ac:spMkLst>
            <pc:docMk/>
            <pc:sldMk cId="2101858900" sldId="273"/>
            <ac:spMk id="2" creationId="{9B9717C0-6CE9-8169-870B-0AF62C017FB7}"/>
          </ac:spMkLst>
        </pc:spChg>
        <pc:spChg chg="add mod">
          <ac:chgData name="Ana Blasi Sanchiz" userId="ade4f707-3308-4888-b575-5e32ac6efcc8" providerId="ADAL" clId="{3FCB68A5-A67A-4BCA-BD68-164F6017F65A}" dt="2023-11-28T14:47:02.873" v="2" actId="164"/>
          <ac:spMkLst>
            <pc:docMk/>
            <pc:sldMk cId="2101858900" sldId="273"/>
            <ac:spMk id="6" creationId="{9DAAC182-A070-DEB3-4499-CCBA5B25549B}"/>
          </ac:spMkLst>
        </pc:spChg>
        <pc:spChg chg="add mod">
          <ac:chgData name="Ana Blasi Sanchiz" userId="ade4f707-3308-4888-b575-5e32ac6efcc8" providerId="ADAL" clId="{3FCB68A5-A67A-4BCA-BD68-164F6017F65A}" dt="2023-12-12T22:10:23.601" v="740"/>
          <ac:spMkLst>
            <pc:docMk/>
            <pc:sldMk cId="2101858900" sldId="273"/>
            <ac:spMk id="7" creationId="{F5870B19-B801-2FB9-BB37-607835729A99}"/>
          </ac:spMkLst>
        </pc:spChg>
        <pc:spChg chg="mod">
          <ac:chgData name="Ana Blasi Sanchiz" userId="ade4f707-3308-4888-b575-5e32ac6efcc8" providerId="ADAL" clId="{3FCB68A5-A67A-4BCA-BD68-164F6017F65A}" dt="2023-11-28T14:47:13.647" v="4" actId="1076"/>
          <ac:spMkLst>
            <pc:docMk/>
            <pc:sldMk cId="2101858900" sldId="273"/>
            <ac:spMk id="9" creationId="{CFF11A0C-18CB-7A8C-8607-C951E69B17B1}"/>
          </ac:spMkLst>
        </pc:spChg>
        <pc:spChg chg="add del mod">
          <ac:chgData name="Ana Blasi Sanchiz" userId="ade4f707-3308-4888-b575-5e32ac6efcc8" providerId="ADAL" clId="{3FCB68A5-A67A-4BCA-BD68-164F6017F65A}" dt="2023-11-28T14:48:29.170" v="22" actId="21"/>
          <ac:spMkLst>
            <pc:docMk/>
            <pc:sldMk cId="2101858900" sldId="273"/>
            <ac:spMk id="10" creationId="{59E1AE5C-680E-4E7F-D25D-1660A3FE209D}"/>
          </ac:spMkLst>
        </pc:spChg>
        <pc:spChg chg="add del mod">
          <ac:chgData name="Ana Blasi Sanchiz" userId="ade4f707-3308-4888-b575-5e32ac6efcc8" providerId="ADAL" clId="{3FCB68A5-A67A-4BCA-BD68-164F6017F65A}" dt="2023-11-28T14:49:51.186" v="35" actId="1076"/>
          <ac:spMkLst>
            <pc:docMk/>
            <pc:sldMk cId="2101858900" sldId="273"/>
            <ac:spMk id="11" creationId="{8A58C57A-32CC-95F3-DCF9-77C2AB6BB516}"/>
          </ac:spMkLst>
        </pc:spChg>
        <pc:spChg chg="add del">
          <ac:chgData name="Ana Blasi Sanchiz" userId="ade4f707-3308-4888-b575-5e32ac6efcc8" providerId="ADAL" clId="{3FCB68A5-A67A-4BCA-BD68-164F6017F65A}" dt="2023-11-28T14:48:30.075" v="25" actId="478"/>
          <ac:spMkLst>
            <pc:docMk/>
            <pc:sldMk cId="2101858900" sldId="273"/>
            <ac:spMk id="12" creationId="{2B9D0A94-9C6F-D3A4-1654-7530331225C3}"/>
          </ac:spMkLst>
        </pc:spChg>
        <pc:spChg chg="add del">
          <ac:chgData name="Ana Blasi Sanchiz" userId="ade4f707-3308-4888-b575-5e32ac6efcc8" providerId="ADAL" clId="{3FCB68A5-A67A-4BCA-BD68-164F6017F65A}" dt="2023-11-28T14:48:30.075" v="25" actId="478"/>
          <ac:spMkLst>
            <pc:docMk/>
            <pc:sldMk cId="2101858900" sldId="273"/>
            <ac:spMk id="13" creationId="{1513921D-48E4-D8B8-E180-E771AA2DBCBE}"/>
          </ac:spMkLst>
        </pc:spChg>
        <pc:spChg chg="mod">
          <ac:chgData name="Ana Blasi Sanchiz" userId="ade4f707-3308-4888-b575-5e32ac6efcc8" providerId="ADAL" clId="{3FCB68A5-A67A-4BCA-BD68-164F6017F65A}" dt="2023-11-28T14:46:57.428" v="0" actId="1076"/>
          <ac:spMkLst>
            <pc:docMk/>
            <pc:sldMk cId="2101858900" sldId="273"/>
            <ac:spMk id="14" creationId="{B3941D93-2191-EB85-68DD-D2A7FD00EF1D}"/>
          </ac:spMkLst>
        </pc:spChg>
        <pc:spChg chg="add del mod">
          <ac:chgData name="Ana Blasi Sanchiz" userId="ade4f707-3308-4888-b575-5e32ac6efcc8" providerId="ADAL" clId="{3FCB68A5-A67A-4BCA-BD68-164F6017F65A}" dt="2023-11-28T14:51:13.400" v="42" actId="478"/>
          <ac:spMkLst>
            <pc:docMk/>
            <pc:sldMk cId="2101858900" sldId="273"/>
            <ac:spMk id="15" creationId="{5F865C4A-2DB9-60EC-7740-77714419AD71}"/>
          </ac:spMkLst>
        </pc:spChg>
        <pc:spChg chg="add del">
          <ac:chgData name="Ana Blasi Sanchiz" userId="ade4f707-3308-4888-b575-5e32ac6efcc8" providerId="ADAL" clId="{3FCB68A5-A67A-4BCA-BD68-164F6017F65A}" dt="2023-11-28T14:51:18.627" v="44" actId="478"/>
          <ac:spMkLst>
            <pc:docMk/>
            <pc:sldMk cId="2101858900" sldId="273"/>
            <ac:spMk id="16" creationId="{33745D11-0867-8C74-8E73-A816D1EBFA50}"/>
          </ac:spMkLst>
        </pc:spChg>
        <pc:spChg chg="add del mod">
          <ac:chgData name="Ana Blasi Sanchiz" userId="ade4f707-3308-4888-b575-5e32ac6efcc8" providerId="ADAL" clId="{3FCB68A5-A67A-4BCA-BD68-164F6017F65A}" dt="2023-11-28T14:51:18.627" v="44" actId="478"/>
          <ac:spMkLst>
            <pc:docMk/>
            <pc:sldMk cId="2101858900" sldId="273"/>
            <ac:spMk id="17" creationId="{6557593D-934A-C8A1-5809-4BA32CB35ACC}"/>
          </ac:spMkLst>
        </pc:spChg>
        <pc:spChg chg="add del mod">
          <ac:chgData name="Ana Blasi Sanchiz" userId="ade4f707-3308-4888-b575-5e32ac6efcc8" providerId="ADAL" clId="{3FCB68A5-A67A-4BCA-BD68-164F6017F65A}" dt="2023-11-28T14:51:13.400" v="42" actId="478"/>
          <ac:spMkLst>
            <pc:docMk/>
            <pc:sldMk cId="2101858900" sldId="273"/>
            <ac:spMk id="19" creationId="{7C57660A-1252-7951-96A4-FFA49E16C704}"/>
          </ac:spMkLst>
        </pc:spChg>
        <pc:spChg chg="add del">
          <ac:chgData name="Ana Blasi Sanchiz" userId="ade4f707-3308-4888-b575-5e32ac6efcc8" providerId="ADAL" clId="{3FCB68A5-A67A-4BCA-BD68-164F6017F65A}" dt="2023-11-28T14:51:16.182" v="43" actId="478"/>
          <ac:spMkLst>
            <pc:docMk/>
            <pc:sldMk cId="2101858900" sldId="273"/>
            <ac:spMk id="20" creationId="{BA5A5DE6-6D6B-FD8F-CD00-EE402B2D133D}"/>
          </ac:spMkLst>
        </pc:spChg>
        <pc:spChg chg="add del mod">
          <ac:chgData name="Ana Blasi Sanchiz" userId="ade4f707-3308-4888-b575-5e32ac6efcc8" providerId="ADAL" clId="{3FCB68A5-A67A-4BCA-BD68-164F6017F65A}" dt="2023-11-28T14:51:16.182" v="43" actId="478"/>
          <ac:spMkLst>
            <pc:docMk/>
            <pc:sldMk cId="2101858900" sldId="273"/>
            <ac:spMk id="21" creationId="{A55E67BF-2DCA-DE86-9FFD-97D7DC026289}"/>
          </ac:spMkLst>
        </pc:spChg>
        <pc:spChg chg="mod">
          <ac:chgData name="Ana Blasi Sanchiz" userId="ade4f707-3308-4888-b575-5e32ac6efcc8" providerId="ADAL" clId="{3FCB68A5-A67A-4BCA-BD68-164F6017F65A}" dt="2023-11-28T14:48:00.270" v="13"/>
          <ac:spMkLst>
            <pc:docMk/>
            <pc:sldMk cId="2101858900" sldId="273"/>
            <ac:spMk id="23" creationId="{61177FC8-7992-FB43-3900-925E32D34ED6}"/>
          </ac:spMkLst>
        </pc:spChg>
        <pc:spChg chg="mod">
          <ac:chgData name="Ana Blasi Sanchiz" userId="ade4f707-3308-4888-b575-5e32ac6efcc8" providerId="ADAL" clId="{3FCB68A5-A67A-4BCA-BD68-164F6017F65A}" dt="2023-11-28T14:48:00.270" v="13"/>
          <ac:spMkLst>
            <pc:docMk/>
            <pc:sldMk cId="2101858900" sldId="273"/>
            <ac:spMk id="24" creationId="{88599829-C7E4-BFEF-7B72-8DF458E0A16C}"/>
          </ac:spMkLst>
        </pc:spChg>
        <pc:spChg chg="mod">
          <ac:chgData name="Ana Blasi Sanchiz" userId="ade4f707-3308-4888-b575-5e32ac6efcc8" providerId="ADAL" clId="{3FCB68A5-A67A-4BCA-BD68-164F6017F65A}" dt="2023-11-28T14:48:00.270" v="13"/>
          <ac:spMkLst>
            <pc:docMk/>
            <pc:sldMk cId="2101858900" sldId="273"/>
            <ac:spMk id="25" creationId="{855705A1-7B85-0AD3-8ED0-FBAA65C98A20}"/>
          </ac:spMkLst>
        </pc:spChg>
        <pc:spChg chg="add del mod">
          <ac:chgData name="Ana Blasi Sanchiz" userId="ade4f707-3308-4888-b575-5e32ac6efcc8" providerId="ADAL" clId="{3FCB68A5-A67A-4BCA-BD68-164F6017F65A}" dt="2023-11-28T14:48:26.054" v="19" actId="571"/>
          <ac:spMkLst>
            <pc:docMk/>
            <pc:sldMk cId="2101858900" sldId="273"/>
            <ac:spMk id="26" creationId="{41807C51-969A-2A53-FBC8-EDC0F94DC33C}"/>
          </ac:spMkLst>
        </pc:spChg>
        <pc:spChg chg="mod">
          <ac:chgData name="Ana Blasi Sanchiz" userId="ade4f707-3308-4888-b575-5e32ac6efcc8" providerId="ADAL" clId="{3FCB68A5-A67A-4BCA-BD68-164F6017F65A}" dt="2023-11-28T14:50:49.082" v="36"/>
          <ac:spMkLst>
            <pc:docMk/>
            <pc:sldMk cId="2101858900" sldId="273"/>
            <ac:spMk id="30" creationId="{63E6C122-1EA7-2349-0DFF-7442025DF003}"/>
          </ac:spMkLst>
        </pc:spChg>
        <pc:spChg chg="mod">
          <ac:chgData name="Ana Blasi Sanchiz" userId="ade4f707-3308-4888-b575-5e32ac6efcc8" providerId="ADAL" clId="{3FCB68A5-A67A-4BCA-BD68-164F6017F65A}" dt="2023-11-28T14:50:49.082" v="36"/>
          <ac:spMkLst>
            <pc:docMk/>
            <pc:sldMk cId="2101858900" sldId="273"/>
            <ac:spMk id="31" creationId="{82FECBF5-1B6E-8D43-89D7-232A0F9BD001}"/>
          </ac:spMkLst>
        </pc:spChg>
        <pc:spChg chg="del mod">
          <ac:chgData name="Ana Blasi Sanchiz" userId="ade4f707-3308-4888-b575-5e32ac6efcc8" providerId="ADAL" clId="{3FCB68A5-A67A-4BCA-BD68-164F6017F65A}" dt="2023-11-28T14:50:56.235" v="39" actId="21"/>
          <ac:spMkLst>
            <pc:docMk/>
            <pc:sldMk cId="2101858900" sldId="273"/>
            <ac:spMk id="32" creationId="{BB28E08E-8953-1F83-BB67-CF7932B11AD0}"/>
          </ac:spMkLst>
        </pc:spChg>
        <pc:spChg chg="mod">
          <ac:chgData name="Ana Blasi Sanchiz" userId="ade4f707-3308-4888-b575-5e32ac6efcc8" providerId="ADAL" clId="{3FCB68A5-A67A-4BCA-BD68-164F6017F65A}" dt="2023-11-28T14:54:02.800" v="47"/>
          <ac:spMkLst>
            <pc:docMk/>
            <pc:sldMk cId="2101858900" sldId="273"/>
            <ac:spMk id="34" creationId="{E9B7AE62-8757-1509-EE31-B2DF4F56B821}"/>
          </ac:spMkLst>
        </pc:spChg>
        <pc:spChg chg="mod">
          <ac:chgData name="Ana Blasi Sanchiz" userId="ade4f707-3308-4888-b575-5e32ac6efcc8" providerId="ADAL" clId="{3FCB68A5-A67A-4BCA-BD68-164F6017F65A}" dt="2023-11-28T14:54:02.800" v="47"/>
          <ac:spMkLst>
            <pc:docMk/>
            <pc:sldMk cId="2101858900" sldId="273"/>
            <ac:spMk id="35" creationId="{FB457D55-8605-30DB-CADE-6DF9AA2B2C12}"/>
          </ac:spMkLst>
        </pc:spChg>
        <pc:spChg chg="mod">
          <ac:chgData name="Ana Blasi Sanchiz" userId="ade4f707-3308-4888-b575-5e32ac6efcc8" providerId="ADAL" clId="{3FCB68A5-A67A-4BCA-BD68-164F6017F65A}" dt="2023-12-12T22:10:26.363" v="742"/>
          <ac:spMkLst>
            <pc:docMk/>
            <pc:sldMk cId="2101858900" sldId="273"/>
            <ac:spMk id="36" creationId="{91D5B30B-8472-83D1-12EE-D54E7FE4A0D9}"/>
          </ac:spMkLst>
        </pc:spChg>
        <pc:spChg chg="mod">
          <ac:chgData name="Ana Blasi Sanchiz" userId="ade4f707-3308-4888-b575-5e32ac6efcc8" providerId="ADAL" clId="{3FCB68A5-A67A-4BCA-BD68-164F6017F65A}" dt="2023-11-28T14:54:29.838" v="54"/>
          <ac:spMkLst>
            <pc:docMk/>
            <pc:sldMk cId="2101858900" sldId="273"/>
            <ac:spMk id="38" creationId="{8CED4D8F-057F-CCDB-3936-0B71B2B2C524}"/>
          </ac:spMkLst>
        </pc:spChg>
        <pc:spChg chg="mod">
          <ac:chgData name="Ana Blasi Sanchiz" userId="ade4f707-3308-4888-b575-5e32ac6efcc8" providerId="ADAL" clId="{3FCB68A5-A67A-4BCA-BD68-164F6017F65A}" dt="2023-11-28T14:54:29.838" v="54"/>
          <ac:spMkLst>
            <pc:docMk/>
            <pc:sldMk cId="2101858900" sldId="273"/>
            <ac:spMk id="39" creationId="{8B43AE58-115A-D93D-7514-B998EECC8C0D}"/>
          </ac:spMkLst>
        </pc:spChg>
        <pc:spChg chg="mod">
          <ac:chgData name="Ana Blasi Sanchiz" userId="ade4f707-3308-4888-b575-5e32ac6efcc8" providerId="ADAL" clId="{3FCB68A5-A67A-4BCA-BD68-164F6017F65A}" dt="2023-12-12T22:10:28.848" v="744"/>
          <ac:spMkLst>
            <pc:docMk/>
            <pc:sldMk cId="2101858900" sldId="273"/>
            <ac:spMk id="40" creationId="{87228344-1EB4-8BC6-50E8-1546247AC685}"/>
          </ac:spMkLst>
        </pc:spChg>
        <pc:spChg chg="mod">
          <ac:chgData name="Ana Blasi Sanchiz" userId="ade4f707-3308-4888-b575-5e32ac6efcc8" providerId="ADAL" clId="{3FCB68A5-A67A-4BCA-BD68-164F6017F65A}" dt="2023-11-28T14:54:29.838" v="54"/>
          <ac:spMkLst>
            <pc:docMk/>
            <pc:sldMk cId="2101858900" sldId="273"/>
            <ac:spMk id="42" creationId="{996471BB-3301-9140-0BE7-911395A3D0A3}"/>
          </ac:spMkLst>
        </pc:spChg>
        <pc:spChg chg="mod">
          <ac:chgData name="Ana Blasi Sanchiz" userId="ade4f707-3308-4888-b575-5e32ac6efcc8" providerId="ADAL" clId="{3FCB68A5-A67A-4BCA-BD68-164F6017F65A}" dt="2023-11-28T14:54:29.838" v="54"/>
          <ac:spMkLst>
            <pc:docMk/>
            <pc:sldMk cId="2101858900" sldId="273"/>
            <ac:spMk id="43" creationId="{49EA0B04-D3FD-291A-00C7-98379C5B3434}"/>
          </ac:spMkLst>
        </pc:spChg>
        <pc:spChg chg="mod">
          <ac:chgData name="Ana Blasi Sanchiz" userId="ade4f707-3308-4888-b575-5e32ac6efcc8" providerId="ADAL" clId="{3FCB68A5-A67A-4BCA-BD68-164F6017F65A}" dt="2023-12-12T22:10:31.521" v="746"/>
          <ac:spMkLst>
            <pc:docMk/>
            <pc:sldMk cId="2101858900" sldId="273"/>
            <ac:spMk id="44" creationId="{3C9FE840-F95C-735D-B79D-C9E1635BFFDD}"/>
          </ac:spMkLst>
        </pc:spChg>
        <pc:grpChg chg="add del mod">
          <ac:chgData name="Ana Blasi Sanchiz" userId="ade4f707-3308-4888-b575-5e32ac6efcc8" providerId="ADAL" clId="{3FCB68A5-A67A-4BCA-BD68-164F6017F65A}" dt="2023-12-11T16:29:37.933" v="357" actId="1076"/>
          <ac:grpSpMkLst>
            <pc:docMk/>
            <pc:sldMk cId="2101858900" sldId="273"/>
            <ac:grpSpMk id="8" creationId="{191A7D98-7460-2E9E-4881-83CBD1750531}"/>
          </ac:grpSpMkLst>
        </pc:grpChg>
        <pc:grpChg chg="add del mod">
          <ac:chgData name="Ana Blasi Sanchiz" userId="ade4f707-3308-4888-b575-5e32ac6efcc8" providerId="ADAL" clId="{3FCB68A5-A67A-4BCA-BD68-164F6017F65A}" dt="2023-11-28T14:48:29.564" v="24"/>
          <ac:grpSpMkLst>
            <pc:docMk/>
            <pc:sldMk cId="2101858900" sldId="273"/>
            <ac:grpSpMk id="22" creationId="{5C945FEF-EEAA-2E2A-B20F-13766CE5A324}"/>
          </ac:grpSpMkLst>
        </pc:grpChg>
        <pc:grpChg chg="add mod">
          <ac:chgData name="Ana Blasi Sanchiz" userId="ade4f707-3308-4888-b575-5e32ac6efcc8" providerId="ADAL" clId="{3FCB68A5-A67A-4BCA-BD68-164F6017F65A}" dt="2023-11-28T14:48:58.470" v="31" actId="164"/>
          <ac:grpSpMkLst>
            <pc:docMk/>
            <pc:sldMk cId="2101858900" sldId="273"/>
            <ac:grpSpMk id="27" creationId="{D9D4649A-786D-5E3E-A0CA-05C06E53E289}"/>
          </ac:grpSpMkLst>
        </pc:grpChg>
        <pc:grpChg chg="add mod">
          <ac:chgData name="Ana Blasi Sanchiz" userId="ade4f707-3308-4888-b575-5e32ac6efcc8" providerId="ADAL" clId="{3FCB68A5-A67A-4BCA-BD68-164F6017F65A}" dt="2023-11-28T14:49:47.867" v="34" actId="164"/>
          <ac:grpSpMkLst>
            <pc:docMk/>
            <pc:sldMk cId="2101858900" sldId="273"/>
            <ac:grpSpMk id="28" creationId="{B2C33CB4-B9DC-3F2B-62F9-F9E3BB8A4470}"/>
          </ac:grpSpMkLst>
        </pc:grpChg>
        <pc:grpChg chg="add del mod">
          <ac:chgData name="Ana Blasi Sanchiz" userId="ade4f707-3308-4888-b575-5e32ac6efcc8" providerId="ADAL" clId="{3FCB68A5-A67A-4BCA-BD68-164F6017F65A}" dt="2023-11-28T14:51:08.880" v="40" actId="478"/>
          <ac:grpSpMkLst>
            <pc:docMk/>
            <pc:sldMk cId="2101858900" sldId="273"/>
            <ac:grpSpMk id="29" creationId="{E15D9B6C-D78F-D9F6-51CB-7A31ABD9483F}"/>
          </ac:grpSpMkLst>
        </pc:grpChg>
        <pc:grpChg chg="add mod">
          <ac:chgData name="Ana Blasi Sanchiz" userId="ade4f707-3308-4888-b575-5e32ac6efcc8" providerId="ADAL" clId="{3FCB68A5-A67A-4BCA-BD68-164F6017F65A}" dt="2023-11-28T14:54:22.046" v="53" actId="1076"/>
          <ac:grpSpMkLst>
            <pc:docMk/>
            <pc:sldMk cId="2101858900" sldId="273"/>
            <ac:grpSpMk id="33" creationId="{17E5A9AF-5591-A6DB-C97C-8C630BF03BB3}"/>
          </ac:grpSpMkLst>
        </pc:grpChg>
        <pc:grpChg chg="add mod">
          <ac:chgData name="Ana Blasi Sanchiz" userId="ade4f707-3308-4888-b575-5e32ac6efcc8" providerId="ADAL" clId="{3FCB68A5-A67A-4BCA-BD68-164F6017F65A}" dt="2023-11-28T14:54:40.705" v="65" actId="1037"/>
          <ac:grpSpMkLst>
            <pc:docMk/>
            <pc:sldMk cId="2101858900" sldId="273"/>
            <ac:grpSpMk id="37" creationId="{9311FABC-6A62-E716-F520-11EFB112BEFC}"/>
          </ac:grpSpMkLst>
        </pc:grpChg>
        <pc:grpChg chg="add mod">
          <ac:chgData name="Ana Blasi Sanchiz" userId="ade4f707-3308-4888-b575-5e32ac6efcc8" providerId="ADAL" clId="{3FCB68A5-A67A-4BCA-BD68-164F6017F65A}" dt="2023-11-28T14:54:40.705" v="65" actId="1037"/>
          <ac:grpSpMkLst>
            <pc:docMk/>
            <pc:sldMk cId="2101858900" sldId="273"/>
            <ac:grpSpMk id="41" creationId="{2CE9722A-96FD-4BEA-3163-61D729E530D0}"/>
          </ac:grpSpMkLst>
        </pc:grpChg>
      </pc:sldChg>
      <pc:sldChg chg="addSp delSp modSp mod modNotesTx">
        <pc:chgData name="Ana Blasi Sanchiz" userId="ade4f707-3308-4888-b575-5e32ac6efcc8" providerId="ADAL" clId="{3FCB68A5-A67A-4BCA-BD68-164F6017F65A}" dt="2023-12-12T22:11:36.095" v="772" actId="20577"/>
        <pc:sldMkLst>
          <pc:docMk/>
          <pc:sldMk cId="2475390000" sldId="274"/>
        </pc:sldMkLst>
        <pc:spChg chg="mod">
          <ac:chgData name="Ana Blasi Sanchiz" userId="ade4f707-3308-4888-b575-5e32ac6efcc8" providerId="ADAL" clId="{3FCB68A5-A67A-4BCA-BD68-164F6017F65A}" dt="2023-11-29T13:49:10.660" v="258" actId="1076"/>
          <ac:spMkLst>
            <pc:docMk/>
            <pc:sldMk cId="2475390000" sldId="274"/>
            <ac:spMk id="5" creationId="{A5A7B773-ED10-13F5-CA65-87E8A8F4B113}"/>
          </ac:spMkLst>
        </pc:spChg>
        <pc:spChg chg="add del">
          <ac:chgData name="Ana Blasi Sanchiz" userId="ade4f707-3308-4888-b575-5e32ac6efcc8" providerId="ADAL" clId="{3FCB68A5-A67A-4BCA-BD68-164F6017F65A}" dt="2023-12-11T17:07:20.090" v="466" actId="22"/>
          <ac:spMkLst>
            <pc:docMk/>
            <pc:sldMk cId="2475390000" sldId="274"/>
            <ac:spMk id="6" creationId="{1F2C6240-1008-2C3F-4682-9B545371DE34}"/>
          </ac:spMkLst>
        </pc:spChg>
        <pc:spChg chg="mod">
          <ac:chgData name="Ana Blasi Sanchiz" userId="ade4f707-3308-4888-b575-5e32ac6efcc8" providerId="ADAL" clId="{3FCB68A5-A67A-4BCA-BD68-164F6017F65A}" dt="2023-12-12T22:11:25.228" v="763" actId="20577"/>
          <ac:spMkLst>
            <pc:docMk/>
            <pc:sldMk cId="2475390000" sldId="274"/>
            <ac:spMk id="12" creationId="{3AF48A33-2600-2650-70C4-852A7F9669F6}"/>
          </ac:spMkLst>
        </pc:spChg>
        <pc:spChg chg="mod">
          <ac:chgData name="Ana Blasi Sanchiz" userId="ade4f707-3308-4888-b575-5e32ac6efcc8" providerId="ADAL" clId="{3FCB68A5-A67A-4BCA-BD68-164F6017F65A}" dt="2023-11-29T15:09:46.898" v="321"/>
          <ac:spMkLst>
            <pc:docMk/>
            <pc:sldMk cId="2475390000" sldId="274"/>
            <ac:spMk id="21" creationId="{E25A8DFF-D184-776D-080D-614C464F65DE}"/>
          </ac:spMkLst>
        </pc:spChg>
        <pc:spChg chg="mod">
          <ac:chgData name="Ana Blasi Sanchiz" userId="ade4f707-3308-4888-b575-5e32ac6efcc8" providerId="ADAL" clId="{3FCB68A5-A67A-4BCA-BD68-164F6017F65A}" dt="2023-12-12T22:11:33.118" v="769" actId="20577"/>
          <ac:spMkLst>
            <pc:docMk/>
            <pc:sldMk cId="2475390000" sldId="274"/>
            <ac:spMk id="22" creationId="{E8B9510F-2963-DCA6-08AE-E75F5E402DF0}"/>
          </ac:spMkLst>
        </pc:spChg>
        <pc:spChg chg="mod">
          <ac:chgData name="Ana Blasi Sanchiz" userId="ade4f707-3308-4888-b575-5e32ac6efcc8" providerId="ADAL" clId="{3FCB68A5-A67A-4BCA-BD68-164F6017F65A}" dt="2023-12-12T22:11:36.095" v="772" actId="20577"/>
          <ac:spMkLst>
            <pc:docMk/>
            <pc:sldMk cId="2475390000" sldId="274"/>
            <ac:spMk id="25" creationId="{D493C1D3-EF6C-4ADD-B855-723DAB27744E}"/>
          </ac:spMkLst>
        </pc:spChg>
      </pc:sldChg>
      <pc:sldChg chg="addSp delSp modSp mod chgLayout modNotesTx">
        <pc:chgData name="Ana Blasi Sanchiz" userId="ade4f707-3308-4888-b575-5e32ac6efcc8" providerId="ADAL" clId="{3FCB68A5-A67A-4BCA-BD68-164F6017F65A}" dt="2023-12-12T22:13:39.148" v="871"/>
        <pc:sldMkLst>
          <pc:docMk/>
          <pc:sldMk cId="529972285" sldId="275"/>
        </pc:sldMkLst>
        <pc:spChg chg="del">
          <ac:chgData name="Ana Blasi Sanchiz" userId="ade4f707-3308-4888-b575-5e32ac6efcc8" providerId="ADAL" clId="{3FCB68A5-A67A-4BCA-BD68-164F6017F65A}" dt="2023-11-28T15:00:00.010" v="66" actId="700"/>
          <ac:spMkLst>
            <pc:docMk/>
            <pc:sldMk cId="529972285" sldId="275"/>
            <ac:spMk id="2" creationId="{C6645C56-FCEF-4374-710F-40C264456044}"/>
          </ac:spMkLst>
        </pc:spChg>
        <pc:spChg chg="mod ord">
          <ac:chgData name="Ana Blasi Sanchiz" userId="ade4f707-3308-4888-b575-5e32ac6efcc8" providerId="ADAL" clId="{3FCB68A5-A67A-4BCA-BD68-164F6017F65A}" dt="2023-11-28T15:00:00.010" v="66" actId="700"/>
          <ac:spMkLst>
            <pc:docMk/>
            <pc:sldMk cId="529972285" sldId="275"/>
            <ac:spMk id="3" creationId="{A54449C3-D32E-354D-D8DD-E481E4E45BEB}"/>
          </ac:spMkLst>
        </pc:spChg>
        <pc:spChg chg="add del mod ord">
          <ac:chgData name="Ana Blasi Sanchiz" userId="ade4f707-3308-4888-b575-5e32ac6efcc8" providerId="ADAL" clId="{3FCB68A5-A67A-4BCA-BD68-164F6017F65A}" dt="2023-11-29T15:09:29.344" v="320" actId="478"/>
          <ac:spMkLst>
            <pc:docMk/>
            <pc:sldMk cId="529972285" sldId="275"/>
            <ac:spMk id="4" creationId="{677480E1-3FF4-7981-2919-45325E91B639}"/>
          </ac:spMkLst>
        </pc:spChg>
        <pc:spChg chg="mod ord">
          <ac:chgData name="Ana Blasi Sanchiz" userId="ade4f707-3308-4888-b575-5e32ac6efcc8" providerId="ADAL" clId="{3FCB68A5-A67A-4BCA-BD68-164F6017F65A}" dt="2023-11-28T15:00:00.010" v="66" actId="700"/>
          <ac:spMkLst>
            <pc:docMk/>
            <pc:sldMk cId="529972285" sldId="275"/>
            <ac:spMk id="5" creationId="{12B8BF28-DC69-52AE-4718-BF23E7C1635B}"/>
          </ac:spMkLst>
        </pc:spChg>
        <pc:spChg chg="del">
          <ac:chgData name="Ana Blasi Sanchiz" userId="ade4f707-3308-4888-b575-5e32ac6efcc8" providerId="ADAL" clId="{3FCB68A5-A67A-4BCA-BD68-164F6017F65A}" dt="2023-11-28T15:00:00.010" v="66" actId="700"/>
          <ac:spMkLst>
            <pc:docMk/>
            <pc:sldMk cId="529972285" sldId="275"/>
            <ac:spMk id="6" creationId="{50771303-05FD-1F69-9BA2-EB585DA30B5F}"/>
          </ac:spMkLst>
        </pc:spChg>
        <pc:spChg chg="del">
          <ac:chgData name="Ana Blasi Sanchiz" userId="ade4f707-3308-4888-b575-5e32ac6efcc8" providerId="ADAL" clId="{3FCB68A5-A67A-4BCA-BD68-164F6017F65A}" dt="2023-11-28T15:00:00.010" v="66" actId="700"/>
          <ac:spMkLst>
            <pc:docMk/>
            <pc:sldMk cId="529972285" sldId="275"/>
            <ac:spMk id="7" creationId="{FA594244-815C-9405-53C4-0CF5E6A5DFE5}"/>
          </ac:spMkLst>
        </pc:spChg>
        <pc:spChg chg="del">
          <ac:chgData name="Ana Blasi Sanchiz" userId="ade4f707-3308-4888-b575-5e32ac6efcc8" providerId="ADAL" clId="{3FCB68A5-A67A-4BCA-BD68-164F6017F65A}" dt="2023-11-28T15:00:00.010" v="66" actId="700"/>
          <ac:spMkLst>
            <pc:docMk/>
            <pc:sldMk cId="529972285" sldId="275"/>
            <ac:spMk id="8" creationId="{B0225407-DB3A-6217-3779-2C1311189815}"/>
          </ac:spMkLst>
        </pc:spChg>
        <pc:spChg chg="del">
          <ac:chgData name="Ana Blasi Sanchiz" userId="ade4f707-3308-4888-b575-5e32ac6efcc8" providerId="ADAL" clId="{3FCB68A5-A67A-4BCA-BD68-164F6017F65A}" dt="2023-11-28T15:00:00.010" v="66" actId="700"/>
          <ac:spMkLst>
            <pc:docMk/>
            <pc:sldMk cId="529972285" sldId="275"/>
            <ac:spMk id="9" creationId="{6D238D9E-43E0-612A-E698-D19D73838E53}"/>
          </ac:spMkLst>
        </pc:spChg>
        <pc:spChg chg="del">
          <ac:chgData name="Ana Blasi Sanchiz" userId="ade4f707-3308-4888-b575-5e32ac6efcc8" providerId="ADAL" clId="{3FCB68A5-A67A-4BCA-BD68-164F6017F65A}" dt="2023-11-28T15:00:00.010" v="66" actId="700"/>
          <ac:spMkLst>
            <pc:docMk/>
            <pc:sldMk cId="529972285" sldId="275"/>
            <ac:spMk id="10" creationId="{5B955F8D-5AD7-3337-3FC4-B873DBA49C33}"/>
          </ac:spMkLst>
        </pc:spChg>
        <pc:spChg chg="del">
          <ac:chgData name="Ana Blasi Sanchiz" userId="ade4f707-3308-4888-b575-5e32ac6efcc8" providerId="ADAL" clId="{3FCB68A5-A67A-4BCA-BD68-164F6017F65A}" dt="2023-11-28T15:00:00.010" v="66" actId="700"/>
          <ac:spMkLst>
            <pc:docMk/>
            <pc:sldMk cId="529972285" sldId="275"/>
            <ac:spMk id="11" creationId="{0D12D0DA-9ED5-5133-D7E0-44F4862FB7E9}"/>
          </ac:spMkLst>
        </pc:spChg>
        <pc:spChg chg="del">
          <ac:chgData name="Ana Blasi Sanchiz" userId="ade4f707-3308-4888-b575-5e32ac6efcc8" providerId="ADAL" clId="{3FCB68A5-A67A-4BCA-BD68-164F6017F65A}" dt="2023-11-28T15:00:00.010" v="66" actId="700"/>
          <ac:spMkLst>
            <pc:docMk/>
            <pc:sldMk cId="529972285" sldId="275"/>
            <ac:spMk id="12" creationId="{155B0309-368B-AD94-8F22-85412A616CA6}"/>
          </ac:spMkLst>
        </pc:spChg>
        <pc:spChg chg="del">
          <ac:chgData name="Ana Blasi Sanchiz" userId="ade4f707-3308-4888-b575-5e32ac6efcc8" providerId="ADAL" clId="{3FCB68A5-A67A-4BCA-BD68-164F6017F65A}" dt="2023-11-28T15:00:00.010" v="66" actId="700"/>
          <ac:spMkLst>
            <pc:docMk/>
            <pc:sldMk cId="529972285" sldId="275"/>
            <ac:spMk id="13" creationId="{E6177893-2F07-DF14-3BB5-236A6FBF3905}"/>
          </ac:spMkLst>
        </pc:spChg>
        <pc:spChg chg="del">
          <ac:chgData name="Ana Blasi Sanchiz" userId="ade4f707-3308-4888-b575-5e32ac6efcc8" providerId="ADAL" clId="{3FCB68A5-A67A-4BCA-BD68-164F6017F65A}" dt="2023-11-28T15:00:00.010" v="66" actId="700"/>
          <ac:spMkLst>
            <pc:docMk/>
            <pc:sldMk cId="529972285" sldId="275"/>
            <ac:spMk id="14" creationId="{E5F14890-E8B3-1CC5-E839-E868D73369C8}"/>
          </ac:spMkLst>
        </pc:spChg>
        <pc:spChg chg="del">
          <ac:chgData name="Ana Blasi Sanchiz" userId="ade4f707-3308-4888-b575-5e32ac6efcc8" providerId="ADAL" clId="{3FCB68A5-A67A-4BCA-BD68-164F6017F65A}" dt="2023-11-28T15:00:00.010" v="66" actId="700"/>
          <ac:spMkLst>
            <pc:docMk/>
            <pc:sldMk cId="529972285" sldId="275"/>
            <ac:spMk id="15" creationId="{19BE0D99-8333-E01D-4466-F3919CFACE8A}"/>
          </ac:spMkLst>
        </pc:spChg>
        <pc:spChg chg="del">
          <ac:chgData name="Ana Blasi Sanchiz" userId="ade4f707-3308-4888-b575-5e32ac6efcc8" providerId="ADAL" clId="{3FCB68A5-A67A-4BCA-BD68-164F6017F65A}" dt="2023-11-28T15:00:00.010" v="66" actId="700"/>
          <ac:spMkLst>
            <pc:docMk/>
            <pc:sldMk cId="529972285" sldId="275"/>
            <ac:spMk id="16" creationId="{0D7AD2EE-A552-2E0A-81DE-851146517074}"/>
          </ac:spMkLst>
        </pc:spChg>
        <pc:spChg chg="del">
          <ac:chgData name="Ana Blasi Sanchiz" userId="ade4f707-3308-4888-b575-5e32ac6efcc8" providerId="ADAL" clId="{3FCB68A5-A67A-4BCA-BD68-164F6017F65A}" dt="2023-11-28T15:00:00.010" v="66" actId="700"/>
          <ac:spMkLst>
            <pc:docMk/>
            <pc:sldMk cId="529972285" sldId="275"/>
            <ac:spMk id="17" creationId="{1DD1F04B-4ECA-DDA6-3C5F-2DC769B1CCC4}"/>
          </ac:spMkLst>
        </pc:spChg>
        <pc:spChg chg="del">
          <ac:chgData name="Ana Blasi Sanchiz" userId="ade4f707-3308-4888-b575-5e32ac6efcc8" providerId="ADAL" clId="{3FCB68A5-A67A-4BCA-BD68-164F6017F65A}" dt="2023-11-28T15:00:00.010" v="66" actId="700"/>
          <ac:spMkLst>
            <pc:docMk/>
            <pc:sldMk cId="529972285" sldId="275"/>
            <ac:spMk id="18" creationId="{FBB77CF5-56BF-E5B5-35A7-720EF336FF36}"/>
          </ac:spMkLst>
        </pc:spChg>
        <pc:spChg chg="del">
          <ac:chgData name="Ana Blasi Sanchiz" userId="ade4f707-3308-4888-b575-5e32ac6efcc8" providerId="ADAL" clId="{3FCB68A5-A67A-4BCA-BD68-164F6017F65A}" dt="2023-11-28T15:00:00.010" v="66" actId="700"/>
          <ac:spMkLst>
            <pc:docMk/>
            <pc:sldMk cId="529972285" sldId="275"/>
            <ac:spMk id="19" creationId="{90783857-593E-4E0C-3C31-C8400B49CB8B}"/>
          </ac:spMkLst>
        </pc:spChg>
        <pc:spChg chg="del">
          <ac:chgData name="Ana Blasi Sanchiz" userId="ade4f707-3308-4888-b575-5e32ac6efcc8" providerId="ADAL" clId="{3FCB68A5-A67A-4BCA-BD68-164F6017F65A}" dt="2023-11-28T15:00:00.010" v="66" actId="700"/>
          <ac:spMkLst>
            <pc:docMk/>
            <pc:sldMk cId="529972285" sldId="275"/>
            <ac:spMk id="20" creationId="{FFC645B3-4CEB-1D26-D5FF-B15A75846F06}"/>
          </ac:spMkLst>
        </pc:spChg>
        <pc:spChg chg="del">
          <ac:chgData name="Ana Blasi Sanchiz" userId="ade4f707-3308-4888-b575-5e32ac6efcc8" providerId="ADAL" clId="{3FCB68A5-A67A-4BCA-BD68-164F6017F65A}" dt="2023-11-28T15:00:00.010" v="66" actId="700"/>
          <ac:spMkLst>
            <pc:docMk/>
            <pc:sldMk cId="529972285" sldId="275"/>
            <ac:spMk id="21" creationId="{2D65D73D-DD09-8067-81FB-B5C187BD46DC}"/>
          </ac:spMkLst>
        </pc:spChg>
        <pc:spChg chg="add mod ord">
          <ac:chgData name="Ana Blasi Sanchiz" userId="ade4f707-3308-4888-b575-5e32ac6efcc8" providerId="ADAL" clId="{3FCB68A5-A67A-4BCA-BD68-164F6017F65A}" dt="2023-11-28T15:00:00.010" v="66" actId="700"/>
          <ac:spMkLst>
            <pc:docMk/>
            <pc:sldMk cId="529972285" sldId="275"/>
            <ac:spMk id="22" creationId="{6AF98553-940A-31DD-9C31-E1DC639E2966}"/>
          </ac:spMkLst>
        </pc:spChg>
        <pc:spChg chg="add mod ord">
          <ac:chgData name="Ana Blasi Sanchiz" userId="ade4f707-3308-4888-b575-5e32ac6efcc8" providerId="ADAL" clId="{3FCB68A5-A67A-4BCA-BD68-164F6017F65A}" dt="2023-11-28T15:00:00.010" v="66" actId="700"/>
          <ac:spMkLst>
            <pc:docMk/>
            <pc:sldMk cId="529972285" sldId="275"/>
            <ac:spMk id="23" creationId="{CA050367-3F8E-69D7-EC9B-67BF5899EB43}"/>
          </ac:spMkLst>
        </pc:spChg>
        <pc:spChg chg="add mod ord">
          <ac:chgData name="Ana Blasi Sanchiz" userId="ade4f707-3308-4888-b575-5e32ac6efcc8" providerId="ADAL" clId="{3FCB68A5-A67A-4BCA-BD68-164F6017F65A}" dt="2023-11-28T15:00:00.010" v="66" actId="700"/>
          <ac:spMkLst>
            <pc:docMk/>
            <pc:sldMk cId="529972285" sldId="275"/>
            <ac:spMk id="24" creationId="{9DEDE2AE-5453-6753-E003-B176A63C681E}"/>
          </ac:spMkLst>
        </pc:spChg>
        <pc:spChg chg="add mod ord">
          <ac:chgData name="Ana Blasi Sanchiz" userId="ade4f707-3308-4888-b575-5e32ac6efcc8" providerId="ADAL" clId="{3FCB68A5-A67A-4BCA-BD68-164F6017F65A}" dt="2023-11-28T15:00:00.010" v="66" actId="700"/>
          <ac:spMkLst>
            <pc:docMk/>
            <pc:sldMk cId="529972285" sldId="275"/>
            <ac:spMk id="25" creationId="{8232D84E-4F7D-C2AC-0E01-FF225A644F18}"/>
          </ac:spMkLst>
        </pc:spChg>
        <pc:spChg chg="add mod ord">
          <ac:chgData name="Ana Blasi Sanchiz" userId="ade4f707-3308-4888-b575-5e32ac6efcc8" providerId="ADAL" clId="{3FCB68A5-A67A-4BCA-BD68-164F6017F65A}" dt="2023-11-28T15:00:00.010" v="66" actId="700"/>
          <ac:spMkLst>
            <pc:docMk/>
            <pc:sldMk cId="529972285" sldId="275"/>
            <ac:spMk id="26" creationId="{F66FAA1B-3E50-B945-2D24-16707B73C5BD}"/>
          </ac:spMkLst>
        </pc:spChg>
        <pc:spChg chg="add mod ord">
          <ac:chgData name="Ana Blasi Sanchiz" userId="ade4f707-3308-4888-b575-5e32ac6efcc8" providerId="ADAL" clId="{3FCB68A5-A67A-4BCA-BD68-164F6017F65A}" dt="2023-12-12T22:13:30.852" v="864" actId="20577"/>
          <ac:spMkLst>
            <pc:docMk/>
            <pc:sldMk cId="529972285" sldId="275"/>
            <ac:spMk id="27" creationId="{4BAE472A-3895-CEF0-161F-70238AB06560}"/>
          </ac:spMkLst>
        </pc:spChg>
        <pc:spChg chg="add mod ord">
          <ac:chgData name="Ana Blasi Sanchiz" userId="ade4f707-3308-4888-b575-5e32ac6efcc8" providerId="ADAL" clId="{3FCB68A5-A67A-4BCA-BD68-164F6017F65A}" dt="2023-12-12T22:13:33.531" v="865"/>
          <ac:spMkLst>
            <pc:docMk/>
            <pc:sldMk cId="529972285" sldId="275"/>
            <ac:spMk id="28" creationId="{BAC4507E-6A7B-2168-D562-1A5D1C7C42F0}"/>
          </ac:spMkLst>
        </pc:spChg>
        <pc:spChg chg="add mod ord">
          <ac:chgData name="Ana Blasi Sanchiz" userId="ade4f707-3308-4888-b575-5e32ac6efcc8" providerId="ADAL" clId="{3FCB68A5-A67A-4BCA-BD68-164F6017F65A}" dt="2023-12-12T22:13:34.599" v="866"/>
          <ac:spMkLst>
            <pc:docMk/>
            <pc:sldMk cId="529972285" sldId="275"/>
            <ac:spMk id="29" creationId="{38667697-4853-D02B-2CE0-5A39A1A49C45}"/>
          </ac:spMkLst>
        </pc:spChg>
        <pc:spChg chg="add mod ord">
          <ac:chgData name="Ana Blasi Sanchiz" userId="ade4f707-3308-4888-b575-5e32ac6efcc8" providerId="ADAL" clId="{3FCB68A5-A67A-4BCA-BD68-164F6017F65A}" dt="2023-12-12T22:13:35.480" v="867"/>
          <ac:spMkLst>
            <pc:docMk/>
            <pc:sldMk cId="529972285" sldId="275"/>
            <ac:spMk id="30" creationId="{DA061AD7-B3D0-9D16-8DAD-560C6C2E20D9}"/>
          </ac:spMkLst>
        </pc:spChg>
        <pc:spChg chg="add mod ord">
          <ac:chgData name="Ana Blasi Sanchiz" userId="ade4f707-3308-4888-b575-5e32ac6efcc8" providerId="ADAL" clId="{3FCB68A5-A67A-4BCA-BD68-164F6017F65A}" dt="2023-11-28T15:00:00.010" v="66" actId="700"/>
          <ac:spMkLst>
            <pc:docMk/>
            <pc:sldMk cId="529972285" sldId="275"/>
            <ac:spMk id="31" creationId="{5512F843-5C89-1A01-6AED-6F23C2418A87}"/>
          </ac:spMkLst>
        </pc:spChg>
        <pc:spChg chg="add mod ord">
          <ac:chgData name="Ana Blasi Sanchiz" userId="ade4f707-3308-4888-b575-5e32ac6efcc8" providerId="ADAL" clId="{3FCB68A5-A67A-4BCA-BD68-164F6017F65A}" dt="2023-11-28T15:00:00.010" v="66" actId="700"/>
          <ac:spMkLst>
            <pc:docMk/>
            <pc:sldMk cId="529972285" sldId="275"/>
            <ac:spMk id="32" creationId="{8591C66C-FDBE-F462-08CA-3360E56DB4C8}"/>
          </ac:spMkLst>
        </pc:spChg>
        <pc:spChg chg="add mod ord">
          <ac:chgData name="Ana Blasi Sanchiz" userId="ade4f707-3308-4888-b575-5e32ac6efcc8" providerId="ADAL" clId="{3FCB68A5-A67A-4BCA-BD68-164F6017F65A}" dt="2023-11-28T15:00:00.010" v="66" actId="700"/>
          <ac:spMkLst>
            <pc:docMk/>
            <pc:sldMk cId="529972285" sldId="275"/>
            <ac:spMk id="33" creationId="{061ED7C8-09F4-060B-EB1D-5FC5E582FE0F}"/>
          </ac:spMkLst>
        </pc:spChg>
        <pc:spChg chg="add mod ord">
          <ac:chgData name="Ana Blasi Sanchiz" userId="ade4f707-3308-4888-b575-5e32ac6efcc8" providerId="ADAL" clId="{3FCB68A5-A67A-4BCA-BD68-164F6017F65A}" dt="2023-11-28T15:00:00.010" v="66" actId="700"/>
          <ac:spMkLst>
            <pc:docMk/>
            <pc:sldMk cId="529972285" sldId="275"/>
            <ac:spMk id="34" creationId="{05981E87-AD0F-AD01-35AA-7B3CCC4475A2}"/>
          </ac:spMkLst>
        </pc:spChg>
        <pc:spChg chg="add mod ord">
          <ac:chgData name="Ana Blasi Sanchiz" userId="ade4f707-3308-4888-b575-5e32ac6efcc8" providerId="ADAL" clId="{3FCB68A5-A67A-4BCA-BD68-164F6017F65A}" dt="2023-12-12T22:13:39.148" v="871"/>
          <ac:spMkLst>
            <pc:docMk/>
            <pc:sldMk cId="529972285" sldId="275"/>
            <ac:spMk id="35" creationId="{F154A35A-5716-90F7-30A9-B1C8F0BECB92}"/>
          </ac:spMkLst>
        </pc:spChg>
        <pc:spChg chg="add mod ord">
          <ac:chgData name="Ana Blasi Sanchiz" userId="ade4f707-3308-4888-b575-5e32ac6efcc8" providerId="ADAL" clId="{3FCB68A5-A67A-4BCA-BD68-164F6017F65A}" dt="2023-12-12T22:13:38.337" v="870"/>
          <ac:spMkLst>
            <pc:docMk/>
            <pc:sldMk cId="529972285" sldId="275"/>
            <ac:spMk id="36" creationId="{3E36FED8-1587-8F17-2293-C9EEDDC361A4}"/>
          </ac:spMkLst>
        </pc:spChg>
        <pc:spChg chg="add mod ord">
          <ac:chgData name="Ana Blasi Sanchiz" userId="ade4f707-3308-4888-b575-5e32ac6efcc8" providerId="ADAL" clId="{3FCB68A5-A67A-4BCA-BD68-164F6017F65A}" dt="2023-12-12T22:13:37.538" v="869"/>
          <ac:spMkLst>
            <pc:docMk/>
            <pc:sldMk cId="529972285" sldId="275"/>
            <ac:spMk id="37" creationId="{DED04B3D-D046-CDB3-65F8-6D4EA4D37AB2}"/>
          </ac:spMkLst>
        </pc:spChg>
        <pc:spChg chg="add mod ord">
          <ac:chgData name="Ana Blasi Sanchiz" userId="ade4f707-3308-4888-b575-5e32ac6efcc8" providerId="ADAL" clId="{3FCB68A5-A67A-4BCA-BD68-164F6017F65A}" dt="2023-12-12T22:13:36.811" v="868"/>
          <ac:spMkLst>
            <pc:docMk/>
            <pc:sldMk cId="529972285" sldId="275"/>
            <ac:spMk id="38" creationId="{25E60E65-18B1-2E5B-5A1C-D218B8C05EE8}"/>
          </ac:spMkLst>
        </pc:spChg>
      </pc:sldChg>
      <pc:sldChg chg="modSp mod ord modNotesTx">
        <pc:chgData name="Ana Blasi Sanchiz" userId="ade4f707-3308-4888-b575-5e32ac6efcc8" providerId="ADAL" clId="{3FCB68A5-A67A-4BCA-BD68-164F6017F65A}" dt="2023-11-28T15:15:23.728" v="189" actId="20577"/>
        <pc:sldMkLst>
          <pc:docMk/>
          <pc:sldMk cId="1360414919" sldId="276"/>
        </pc:sldMkLst>
        <pc:spChg chg="mod">
          <ac:chgData name="Ana Blasi Sanchiz" userId="ade4f707-3308-4888-b575-5e32ac6efcc8" providerId="ADAL" clId="{3FCB68A5-A67A-4BCA-BD68-164F6017F65A}" dt="2023-11-28T15:05:06.751" v="77" actId="1076"/>
          <ac:spMkLst>
            <pc:docMk/>
            <pc:sldMk cId="1360414919" sldId="276"/>
            <ac:spMk id="33" creationId="{49AB2D3C-653C-CB7E-CDD8-1C91725494E9}"/>
          </ac:spMkLst>
        </pc:spChg>
        <pc:spChg chg="mod">
          <ac:chgData name="Ana Blasi Sanchiz" userId="ade4f707-3308-4888-b575-5e32ac6efcc8" providerId="ADAL" clId="{3FCB68A5-A67A-4BCA-BD68-164F6017F65A}" dt="2023-11-28T15:05:33.175" v="103" actId="20577"/>
          <ac:spMkLst>
            <pc:docMk/>
            <pc:sldMk cId="1360414919" sldId="276"/>
            <ac:spMk id="36" creationId="{B49E3C3D-4019-D22D-4474-EDAF88BD5527}"/>
          </ac:spMkLst>
        </pc:spChg>
      </pc:sldChg>
      <pc:sldChg chg="delSp modSp mod ord">
        <pc:chgData name="Ana Blasi Sanchiz" userId="ade4f707-3308-4888-b575-5e32ac6efcc8" providerId="ADAL" clId="{3FCB68A5-A67A-4BCA-BD68-164F6017F65A}" dt="2023-12-12T22:14:04.460" v="883" actId="20577"/>
        <pc:sldMkLst>
          <pc:docMk/>
          <pc:sldMk cId="4218186888" sldId="277"/>
        </pc:sldMkLst>
        <pc:spChg chg="del">
          <ac:chgData name="Ana Blasi Sanchiz" userId="ade4f707-3308-4888-b575-5e32ac6efcc8" providerId="ADAL" clId="{3FCB68A5-A67A-4BCA-BD68-164F6017F65A}" dt="2023-11-29T15:03:42.772" v="316" actId="478"/>
          <ac:spMkLst>
            <pc:docMk/>
            <pc:sldMk cId="4218186888" sldId="277"/>
            <ac:spMk id="4" creationId="{1880481C-CBE1-34F2-9A30-F706BBF4EA20}"/>
          </ac:spMkLst>
        </pc:spChg>
        <pc:spChg chg="mod">
          <ac:chgData name="Ana Blasi Sanchiz" userId="ade4f707-3308-4888-b575-5e32ac6efcc8" providerId="ADAL" clId="{3FCB68A5-A67A-4BCA-BD68-164F6017F65A}" dt="2023-12-12T22:14:04.460" v="883" actId="20577"/>
          <ac:spMkLst>
            <pc:docMk/>
            <pc:sldMk cId="4218186888" sldId="277"/>
            <ac:spMk id="22" creationId="{60DA0C85-8E59-0D9A-5BA8-467C44AC7C4C}"/>
          </ac:spMkLst>
        </pc:spChg>
        <pc:spChg chg="mod">
          <ac:chgData name="Ana Blasi Sanchiz" userId="ade4f707-3308-4888-b575-5e32ac6efcc8" providerId="ADAL" clId="{3FCB68A5-A67A-4BCA-BD68-164F6017F65A}" dt="2023-12-12T22:14:01.656" v="881" actId="20577"/>
          <ac:spMkLst>
            <pc:docMk/>
            <pc:sldMk cId="4218186888" sldId="277"/>
            <ac:spMk id="30" creationId="{B932ED85-75DF-AF31-4124-E9D0EF6EC753}"/>
          </ac:spMkLst>
        </pc:spChg>
        <pc:spChg chg="mod">
          <ac:chgData name="Ana Blasi Sanchiz" userId="ade4f707-3308-4888-b575-5e32ac6efcc8" providerId="ADAL" clId="{3FCB68A5-A67A-4BCA-BD68-164F6017F65A}" dt="2023-12-12T22:13:51.556" v="879" actId="20577"/>
          <ac:spMkLst>
            <pc:docMk/>
            <pc:sldMk cId="4218186888" sldId="277"/>
            <ac:spMk id="31" creationId="{629DBE7B-425B-64E9-DE5F-BC9DE1CBAE1B}"/>
          </ac:spMkLst>
        </pc:spChg>
        <pc:spChg chg="mod">
          <ac:chgData name="Ana Blasi Sanchiz" userId="ade4f707-3308-4888-b575-5e32ac6efcc8" providerId="ADAL" clId="{3FCB68A5-A67A-4BCA-BD68-164F6017F65A}" dt="2023-11-30T09:20:30.522" v="324" actId="1076"/>
          <ac:spMkLst>
            <pc:docMk/>
            <pc:sldMk cId="4218186888" sldId="277"/>
            <ac:spMk id="34" creationId="{034FFE82-ACEB-A2E3-AF4E-54720D0DC402}"/>
          </ac:spMkLst>
        </pc:spChg>
      </pc:sldChg>
      <pc:sldChg chg="modSp mod ord">
        <pc:chgData name="Ana Blasi Sanchiz" userId="ade4f707-3308-4888-b575-5e32ac6efcc8" providerId="ADAL" clId="{3FCB68A5-A67A-4BCA-BD68-164F6017F65A}" dt="2023-12-12T22:14:22.889" v="897" actId="20577"/>
        <pc:sldMkLst>
          <pc:docMk/>
          <pc:sldMk cId="530924720" sldId="278"/>
        </pc:sldMkLst>
        <pc:spChg chg="mod">
          <ac:chgData name="Ana Blasi Sanchiz" userId="ade4f707-3308-4888-b575-5e32ac6efcc8" providerId="ADAL" clId="{3FCB68A5-A67A-4BCA-BD68-164F6017F65A}" dt="2023-11-29T15:53:13.410" v="323" actId="14100"/>
          <ac:spMkLst>
            <pc:docMk/>
            <pc:sldMk cId="530924720" sldId="278"/>
            <ac:spMk id="17" creationId="{B2ACDE2A-822C-C5A5-A321-825E912989A7}"/>
          </ac:spMkLst>
        </pc:spChg>
        <pc:spChg chg="mod">
          <ac:chgData name="Ana Blasi Sanchiz" userId="ade4f707-3308-4888-b575-5e32ac6efcc8" providerId="ADAL" clId="{3FCB68A5-A67A-4BCA-BD68-164F6017F65A}" dt="2023-12-12T22:14:17.684" v="893" actId="20577"/>
          <ac:spMkLst>
            <pc:docMk/>
            <pc:sldMk cId="530924720" sldId="278"/>
            <ac:spMk id="34" creationId="{6F610C54-85FF-EDA0-9462-6192E80E2307}"/>
          </ac:spMkLst>
        </pc:spChg>
        <pc:spChg chg="mod">
          <ac:chgData name="Ana Blasi Sanchiz" userId="ade4f707-3308-4888-b575-5e32ac6efcc8" providerId="ADAL" clId="{3FCB68A5-A67A-4BCA-BD68-164F6017F65A}" dt="2023-12-12T22:14:20.306" v="895" actId="20577"/>
          <ac:spMkLst>
            <pc:docMk/>
            <pc:sldMk cId="530924720" sldId="278"/>
            <ac:spMk id="35" creationId="{C8BBB69D-4CFE-9055-2CE4-60D54FFBA55A}"/>
          </ac:spMkLst>
        </pc:spChg>
        <pc:spChg chg="mod">
          <ac:chgData name="Ana Blasi Sanchiz" userId="ade4f707-3308-4888-b575-5e32ac6efcc8" providerId="ADAL" clId="{3FCB68A5-A67A-4BCA-BD68-164F6017F65A}" dt="2023-12-12T22:14:22.889" v="897" actId="20577"/>
          <ac:spMkLst>
            <pc:docMk/>
            <pc:sldMk cId="530924720" sldId="278"/>
            <ac:spMk id="36" creationId="{D00F8F35-590C-333F-0990-961C7A207DCE}"/>
          </ac:spMkLst>
        </pc:spChg>
      </pc:sldChg>
      <pc:sldChg chg="delSp modSp mod">
        <pc:chgData name="Ana Blasi Sanchiz" userId="ade4f707-3308-4888-b575-5e32ac6efcc8" providerId="ADAL" clId="{3FCB68A5-A67A-4BCA-BD68-164F6017F65A}" dt="2023-11-30T14:52:45.396" v="348" actId="1076"/>
        <pc:sldMkLst>
          <pc:docMk/>
          <pc:sldMk cId="516308081" sldId="279"/>
        </pc:sldMkLst>
        <pc:spChg chg="del">
          <ac:chgData name="Ana Blasi Sanchiz" userId="ade4f707-3308-4888-b575-5e32ac6efcc8" providerId="ADAL" clId="{3FCB68A5-A67A-4BCA-BD68-164F6017F65A}" dt="2023-11-29T09:53:38.844" v="204" actId="478"/>
          <ac:spMkLst>
            <pc:docMk/>
            <pc:sldMk cId="516308081" sldId="279"/>
            <ac:spMk id="6" creationId="{7BF26B9B-B8E0-874A-6919-5F77A1845357}"/>
          </ac:spMkLst>
        </pc:spChg>
        <pc:spChg chg="del">
          <ac:chgData name="Ana Blasi Sanchiz" userId="ade4f707-3308-4888-b575-5e32ac6efcc8" providerId="ADAL" clId="{3FCB68A5-A67A-4BCA-BD68-164F6017F65A}" dt="2023-11-29T09:53:38.844" v="204" actId="478"/>
          <ac:spMkLst>
            <pc:docMk/>
            <pc:sldMk cId="516308081" sldId="279"/>
            <ac:spMk id="8" creationId="{25D69ED1-3533-ADE1-FBAA-DBD4A74AC8CD}"/>
          </ac:spMkLst>
        </pc:spChg>
        <pc:spChg chg="del">
          <ac:chgData name="Ana Blasi Sanchiz" userId="ade4f707-3308-4888-b575-5e32ac6efcc8" providerId="ADAL" clId="{3FCB68A5-A67A-4BCA-BD68-164F6017F65A}" dt="2023-11-29T09:53:38.844" v="204" actId="478"/>
          <ac:spMkLst>
            <pc:docMk/>
            <pc:sldMk cId="516308081" sldId="279"/>
            <ac:spMk id="10" creationId="{CA22C625-7F71-E10D-C503-CE19EEEBA2A3}"/>
          </ac:spMkLst>
        </pc:spChg>
        <pc:spChg chg="del">
          <ac:chgData name="Ana Blasi Sanchiz" userId="ade4f707-3308-4888-b575-5e32ac6efcc8" providerId="ADAL" clId="{3FCB68A5-A67A-4BCA-BD68-164F6017F65A}" dt="2023-11-29T09:53:38.844" v="204" actId="478"/>
          <ac:spMkLst>
            <pc:docMk/>
            <pc:sldMk cId="516308081" sldId="279"/>
            <ac:spMk id="12" creationId="{2128B65C-2391-53CE-6392-14D4D00D2B05}"/>
          </ac:spMkLst>
        </pc:spChg>
        <pc:spChg chg="del">
          <ac:chgData name="Ana Blasi Sanchiz" userId="ade4f707-3308-4888-b575-5e32ac6efcc8" providerId="ADAL" clId="{3FCB68A5-A67A-4BCA-BD68-164F6017F65A}" dt="2023-11-29T09:53:38.844" v="204" actId="478"/>
          <ac:spMkLst>
            <pc:docMk/>
            <pc:sldMk cId="516308081" sldId="279"/>
            <ac:spMk id="16" creationId="{BF56624E-DE00-17DA-6D0A-E4B51A73FF35}"/>
          </ac:spMkLst>
        </pc:spChg>
        <pc:spChg chg="mod">
          <ac:chgData name="Ana Blasi Sanchiz" userId="ade4f707-3308-4888-b575-5e32ac6efcc8" providerId="ADAL" clId="{3FCB68A5-A67A-4BCA-BD68-164F6017F65A}" dt="2023-11-30T14:52:45.396" v="348" actId="1076"/>
          <ac:spMkLst>
            <pc:docMk/>
            <pc:sldMk cId="516308081" sldId="279"/>
            <ac:spMk id="20" creationId="{1E3FE653-497C-618E-8DB9-498A0741611B}"/>
          </ac:spMkLst>
        </pc:spChg>
        <pc:spChg chg="del">
          <ac:chgData name="Ana Blasi Sanchiz" userId="ade4f707-3308-4888-b575-5e32ac6efcc8" providerId="ADAL" clId="{3FCB68A5-A67A-4BCA-BD68-164F6017F65A}" dt="2023-11-29T09:53:42.686" v="205" actId="478"/>
          <ac:spMkLst>
            <pc:docMk/>
            <pc:sldMk cId="516308081" sldId="279"/>
            <ac:spMk id="21" creationId="{019B7E2A-D538-57A8-C3C6-7C960ED12ABA}"/>
          </ac:spMkLst>
        </pc:spChg>
        <pc:spChg chg="del">
          <ac:chgData name="Ana Blasi Sanchiz" userId="ade4f707-3308-4888-b575-5e32ac6efcc8" providerId="ADAL" clId="{3FCB68A5-A67A-4BCA-BD68-164F6017F65A}" dt="2023-11-29T09:53:42.686" v="205" actId="478"/>
          <ac:spMkLst>
            <pc:docMk/>
            <pc:sldMk cId="516308081" sldId="279"/>
            <ac:spMk id="22" creationId="{E02C6DED-9D4A-0882-4CBD-66713C976381}"/>
          </ac:spMkLst>
        </pc:spChg>
        <pc:spChg chg="del">
          <ac:chgData name="Ana Blasi Sanchiz" userId="ade4f707-3308-4888-b575-5e32ac6efcc8" providerId="ADAL" clId="{3FCB68A5-A67A-4BCA-BD68-164F6017F65A}" dt="2023-11-29T09:53:42.686" v="205" actId="478"/>
          <ac:spMkLst>
            <pc:docMk/>
            <pc:sldMk cId="516308081" sldId="279"/>
            <ac:spMk id="23" creationId="{3999F84F-DB15-8885-308E-215605604FE6}"/>
          </ac:spMkLst>
        </pc:spChg>
        <pc:spChg chg="del">
          <ac:chgData name="Ana Blasi Sanchiz" userId="ade4f707-3308-4888-b575-5e32ac6efcc8" providerId="ADAL" clId="{3FCB68A5-A67A-4BCA-BD68-164F6017F65A}" dt="2023-11-29T09:53:42.686" v="205" actId="478"/>
          <ac:spMkLst>
            <pc:docMk/>
            <pc:sldMk cId="516308081" sldId="279"/>
            <ac:spMk id="24" creationId="{D2477A94-EFDC-9DE4-0C59-310890A161AE}"/>
          </ac:spMkLst>
        </pc:spChg>
        <pc:spChg chg="del">
          <ac:chgData name="Ana Blasi Sanchiz" userId="ade4f707-3308-4888-b575-5e32ac6efcc8" providerId="ADAL" clId="{3FCB68A5-A67A-4BCA-BD68-164F6017F65A}" dt="2023-11-29T09:53:42.686" v="205" actId="478"/>
          <ac:spMkLst>
            <pc:docMk/>
            <pc:sldMk cId="516308081" sldId="279"/>
            <ac:spMk id="25" creationId="{045F426B-6443-714D-5297-F1C3B0A7B236}"/>
          </ac:spMkLst>
        </pc:spChg>
      </pc:sldChg>
      <pc:sldChg chg="addSp delSp modSp mod">
        <pc:chgData name="Ana Blasi Sanchiz" userId="ade4f707-3308-4888-b575-5e32ac6efcc8" providerId="ADAL" clId="{3FCB68A5-A67A-4BCA-BD68-164F6017F65A}" dt="2023-11-29T09:53:26.844" v="202" actId="478"/>
        <pc:sldMkLst>
          <pc:docMk/>
          <pc:sldMk cId="4100753210" sldId="280"/>
        </pc:sldMkLst>
        <pc:spChg chg="add del mod">
          <ac:chgData name="Ana Blasi Sanchiz" userId="ade4f707-3308-4888-b575-5e32ac6efcc8" providerId="ADAL" clId="{3FCB68A5-A67A-4BCA-BD68-164F6017F65A}" dt="2023-11-29T09:53:17.393" v="200" actId="478"/>
          <ac:spMkLst>
            <pc:docMk/>
            <pc:sldMk cId="4100753210" sldId="280"/>
            <ac:spMk id="6" creationId="{B057AA5C-0BA0-3517-DD2B-8950DBEC2FEF}"/>
          </ac:spMkLst>
        </pc:spChg>
        <pc:spChg chg="add del mod">
          <ac:chgData name="Ana Blasi Sanchiz" userId="ade4f707-3308-4888-b575-5e32ac6efcc8" providerId="ADAL" clId="{3FCB68A5-A67A-4BCA-BD68-164F6017F65A}" dt="2023-11-29T09:53:17.393" v="200" actId="478"/>
          <ac:spMkLst>
            <pc:docMk/>
            <pc:sldMk cId="4100753210" sldId="280"/>
            <ac:spMk id="7" creationId="{C97C254F-8929-1593-D9B7-CF67DEB13F3F}"/>
          </ac:spMkLst>
        </pc:spChg>
        <pc:spChg chg="del">
          <ac:chgData name="Ana Blasi Sanchiz" userId="ade4f707-3308-4888-b575-5e32ac6efcc8" providerId="ADAL" clId="{3FCB68A5-A67A-4BCA-BD68-164F6017F65A}" dt="2023-11-29T09:53:24.140" v="201" actId="478"/>
          <ac:spMkLst>
            <pc:docMk/>
            <pc:sldMk cId="4100753210" sldId="280"/>
            <ac:spMk id="14" creationId="{FFBE7DEA-8AE1-34AC-2E3F-E7FB7A332713}"/>
          </ac:spMkLst>
        </pc:spChg>
        <pc:spChg chg="del">
          <ac:chgData name="Ana Blasi Sanchiz" userId="ade4f707-3308-4888-b575-5e32ac6efcc8" providerId="ADAL" clId="{3FCB68A5-A67A-4BCA-BD68-164F6017F65A}" dt="2023-11-29T09:53:17.393" v="200" actId="478"/>
          <ac:spMkLst>
            <pc:docMk/>
            <pc:sldMk cId="4100753210" sldId="280"/>
            <ac:spMk id="15" creationId="{36378959-A7F0-3553-BC3A-F666E3AE8D25}"/>
          </ac:spMkLst>
        </pc:spChg>
        <pc:spChg chg="del">
          <ac:chgData name="Ana Blasi Sanchiz" userId="ade4f707-3308-4888-b575-5e32ac6efcc8" providerId="ADAL" clId="{3FCB68A5-A67A-4BCA-BD68-164F6017F65A}" dt="2023-11-29T09:53:00.715" v="197" actId="478"/>
          <ac:spMkLst>
            <pc:docMk/>
            <pc:sldMk cId="4100753210" sldId="280"/>
            <ac:spMk id="18" creationId="{874596A5-73EA-DD4C-0CC3-CACF1494BE1C}"/>
          </ac:spMkLst>
        </pc:spChg>
        <pc:spChg chg="del">
          <ac:chgData name="Ana Blasi Sanchiz" userId="ade4f707-3308-4888-b575-5e32ac6efcc8" providerId="ADAL" clId="{3FCB68A5-A67A-4BCA-BD68-164F6017F65A}" dt="2023-11-29T09:53:00.715" v="197" actId="478"/>
          <ac:spMkLst>
            <pc:docMk/>
            <pc:sldMk cId="4100753210" sldId="280"/>
            <ac:spMk id="19" creationId="{99DD8A7B-B1EF-1325-77CE-833F1BCFF6E2}"/>
          </ac:spMkLst>
        </pc:spChg>
        <pc:spChg chg="del">
          <ac:chgData name="Ana Blasi Sanchiz" userId="ade4f707-3308-4888-b575-5e32ac6efcc8" providerId="ADAL" clId="{3FCB68A5-A67A-4BCA-BD68-164F6017F65A}" dt="2023-11-29T09:53:00.715" v="197" actId="478"/>
          <ac:spMkLst>
            <pc:docMk/>
            <pc:sldMk cId="4100753210" sldId="280"/>
            <ac:spMk id="21" creationId="{9353EA4A-1936-E464-EAE6-6E3C39FE9562}"/>
          </ac:spMkLst>
        </pc:spChg>
        <pc:spChg chg="del">
          <ac:chgData name="Ana Blasi Sanchiz" userId="ade4f707-3308-4888-b575-5e32ac6efcc8" providerId="ADAL" clId="{3FCB68A5-A67A-4BCA-BD68-164F6017F65A}" dt="2023-11-29T09:53:00.715" v="197" actId="478"/>
          <ac:spMkLst>
            <pc:docMk/>
            <pc:sldMk cId="4100753210" sldId="280"/>
            <ac:spMk id="23" creationId="{7CCB905D-FA0D-12C7-4C95-017AEF6CA542}"/>
          </ac:spMkLst>
        </pc:spChg>
        <pc:spChg chg="del">
          <ac:chgData name="Ana Blasi Sanchiz" userId="ade4f707-3308-4888-b575-5e32ac6efcc8" providerId="ADAL" clId="{3FCB68A5-A67A-4BCA-BD68-164F6017F65A}" dt="2023-11-29T09:53:00.715" v="197" actId="478"/>
          <ac:spMkLst>
            <pc:docMk/>
            <pc:sldMk cId="4100753210" sldId="280"/>
            <ac:spMk id="24" creationId="{8DD07629-56C3-558D-8A66-26D07E132B70}"/>
          </ac:spMkLst>
        </pc:spChg>
        <pc:spChg chg="del">
          <ac:chgData name="Ana Blasi Sanchiz" userId="ade4f707-3308-4888-b575-5e32ac6efcc8" providerId="ADAL" clId="{3FCB68A5-A67A-4BCA-BD68-164F6017F65A}" dt="2023-11-29T09:53:24.140" v="201" actId="478"/>
          <ac:spMkLst>
            <pc:docMk/>
            <pc:sldMk cId="4100753210" sldId="280"/>
            <ac:spMk id="26" creationId="{7DD5E040-B65E-4E65-121A-625640E0B474}"/>
          </ac:spMkLst>
        </pc:spChg>
        <pc:spChg chg="del mod">
          <ac:chgData name="Ana Blasi Sanchiz" userId="ade4f707-3308-4888-b575-5e32ac6efcc8" providerId="ADAL" clId="{3FCB68A5-A67A-4BCA-BD68-164F6017F65A}" dt="2023-11-29T09:53:17.393" v="200" actId="478"/>
          <ac:spMkLst>
            <pc:docMk/>
            <pc:sldMk cId="4100753210" sldId="280"/>
            <ac:spMk id="27" creationId="{F5FEDA33-947C-7C60-0C79-A9EE8475A0F4}"/>
          </ac:spMkLst>
        </pc:spChg>
        <pc:spChg chg="del">
          <ac:chgData name="Ana Blasi Sanchiz" userId="ade4f707-3308-4888-b575-5e32ac6efcc8" providerId="ADAL" clId="{3FCB68A5-A67A-4BCA-BD68-164F6017F65A}" dt="2023-11-29T09:53:17.393" v="200" actId="478"/>
          <ac:spMkLst>
            <pc:docMk/>
            <pc:sldMk cId="4100753210" sldId="280"/>
            <ac:spMk id="28" creationId="{03FD787E-11A7-3E03-2EB3-32D7875F293B}"/>
          </ac:spMkLst>
        </pc:spChg>
        <pc:cxnChg chg="del mod">
          <ac:chgData name="Ana Blasi Sanchiz" userId="ade4f707-3308-4888-b575-5e32ac6efcc8" providerId="ADAL" clId="{3FCB68A5-A67A-4BCA-BD68-164F6017F65A}" dt="2023-11-29T09:53:26.844" v="202" actId="478"/>
          <ac:cxnSpMkLst>
            <pc:docMk/>
            <pc:sldMk cId="4100753210" sldId="280"/>
            <ac:cxnSpMk id="17" creationId="{29EDE3D1-D542-99AA-845F-E3D4218E92DA}"/>
          </ac:cxnSpMkLst>
        </pc:cxnChg>
      </pc:sldChg>
      <pc:sldChg chg="modSp mod">
        <pc:chgData name="Ana Blasi Sanchiz" userId="ade4f707-3308-4888-b575-5e32ac6efcc8" providerId="ADAL" clId="{3FCB68A5-A67A-4BCA-BD68-164F6017F65A}" dt="2023-11-29T15:02:48.446" v="305" actId="1076"/>
        <pc:sldMkLst>
          <pc:docMk/>
          <pc:sldMk cId="413992124" sldId="281"/>
        </pc:sldMkLst>
        <pc:spChg chg="mod">
          <ac:chgData name="Ana Blasi Sanchiz" userId="ade4f707-3308-4888-b575-5e32ac6efcc8" providerId="ADAL" clId="{3FCB68A5-A67A-4BCA-BD68-164F6017F65A}" dt="2023-11-29T12:24:24.635" v="255" actId="962"/>
          <ac:spMkLst>
            <pc:docMk/>
            <pc:sldMk cId="413992124" sldId="281"/>
            <ac:spMk id="2" creationId="{B7809DD5-3B67-C3C8-5360-901E9810CB47}"/>
          </ac:spMkLst>
        </pc:spChg>
        <pc:spChg chg="mod">
          <ac:chgData name="Ana Blasi Sanchiz" userId="ade4f707-3308-4888-b575-5e32ac6efcc8" providerId="ADAL" clId="{3FCB68A5-A67A-4BCA-BD68-164F6017F65A}" dt="2023-11-29T15:02:31.466" v="303" actId="1076"/>
          <ac:spMkLst>
            <pc:docMk/>
            <pc:sldMk cId="413992124" sldId="281"/>
            <ac:spMk id="3" creationId="{A7312A37-5689-8A3E-6E12-92B164986689}"/>
          </ac:spMkLst>
        </pc:spChg>
        <pc:spChg chg="mod">
          <ac:chgData name="Ana Blasi Sanchiz" userId="ade4f707-3308-4888-b575-5e32ac6efcc8" providerId="ADAL" clId="{3FCB68A5-A67A-4BCA-BD68-164F6017F65A}" dt="2023-11-29T12:23:51.158" v="252" actId="962"/>
          <ac:spMkLst>
            <pc:docMk/>
            <pc:sldMk cId="413992124" sldId="281"/>
            <ac:spMk id="5" creationId="{24201F38-9F87-7EFB-DA80-42370F7B717D}"/>
          </ac:spMkLst>
        </pc:spChg>
        <pc:spChg chg="mod">
          <ac:chgData name="Ana Blasi Sanchiz" userId="ade4f707-3308-4888-b575-5e32ac6efcc8" providerId="ADAL" clId="{3FCB68A5-A67A-4BCA-BD68-164F6017F65A}" dt="2023-11-29T15:02:48.446" v="305" actId="1076"/>
          <ac:spMkLst>
            <pc:docMk/>
            <pc:sldMk cId="413992124" sldId="281"/>
            <ac:spMk id="6" creationId="{5313AD15-E5C2-72B5-95C4-0A7FFB5631B0}"/>
          </ac:spMkLst>
        </pc:spChg>
        <pc:spChg chg="mod">
          <ac:chgData name="Ana Blasi Sanchiz" userId="ade4f707-3308-4888-b575-5e32ac6efcc8" providerId="ADAL" clId="{3FCB68A5-A67A-4BCA-BD68-164F6017F65A}" dt="2023-11-29T12:24:06.751" v="253" actId="962"/>
          <ac:spMkLst>
            <pc:docMk/>
            <pc:sldMk cId="413992124" sldId="281"/>
            <ac:spMk id="7" creationId="{AC6638FE-4E07-38D8-9ED5-1665637E4017}"/>
          </ac:spMkLst>
        </pc:spChg>
        <pc:spChg chg="mod">
          <ac:chgData name="Ana Blasi Sanchiz" userId="ade4f707-3308-4888-b575-5e32ac6efcc8" providerId="ADAL" clId="{3FCB68A5-A67A-4BCA-BD68-164F6017F65A}" dt="2023-11-29T12:23:33.663" v="251" actId="962"/>
          <ac:spMkLst>
            <pc:docMk/>
            <pc:sldMk cId="413992124" sldId="281"/>
            <ac:spMk id="8" creationId="{0148BCEB-D2AC-D380-2F26-B8651306A122}"/>
          </ac:spMkLst>
        </pc:spChg>
        <pc:spChg chg="mod">
          <ac:chgData name="Ana Blasi Sanchiz" userId="ade4f707-3308-4888-b575-5e32ac6efcc8" providerId="ADAL" clId="{3FCB68A5-A67A-4BCA-BD68-164F6017F65A}" dt="2023-11-29T12:24:14.417" v="254" actId="962"/>
          <ac:spMkLst>
            <pc:docMk/>
            <pc:sldMk cId="413992124" sldId="281"/>
            <ac:spMk id="9" creationId="{6D1D1D06-0CFA-F3F7-4F0A-CE8389968781}"/>
          </ac:spMkLst>
        </pc:spChg>
        <pc:spChg chg="mod">
          <ac:chgData name="Ana Blasi Sanchiz" userId="ade4f707-3308-4888-b575-5e32ac6efcc8" providerId="ADAL" clId="{3FCB68A5-A67A-4BCA-BD68-164F6017F65A}" dt="2023-11-29T12:23:24.471" v="250" actId="962"/>
          <ac:spMkLst>
            <pc:docMk/>
            <pc:sldMk cId="413992124" sldId="281"/>
            <ac:spMk id="10" creationId="{D50FD22B-DCA0-7DFE-CEBA-853F46BABC00}"/>
          </ac:spMkLst>
        </pc:spChg>
      </pc:sldChg>
      <pc:sldChg chg="addSp delSp modSp mod modNotesTx">
        <pc:chgData name="Ana Blasi Sanchiz" userId="ade4f707-3308-4888-b575-5e32ac6efcc8" providerId="ADAL" clId="{3FCB68A5-A67A-4BCA-BD68-164F6017F65A}" dt="2023-11-30T14:53:37.610" v="349" actId="20577"/>
        <pc:sldMkLst>
          <pc:docMk/>
          <pc:sldMk cId="2222758193" sldId="282"/>
        </pc:sldMkLst>
        <pc:spChg chg="add mod">
          <ac:chgData name="Ana Blasi Sanchiz" userId="ade4f707-3308-4888-b575-5e32ac6efcc8" providerId="ADAL" clId="{3FCB68A5-A67A-4BCA-BD68-164F6017F65A}" dt="2023-11-29T09:55:30.638" v="207" actId="478"/>
          <ac:spMkLst>
            <pc:docMk/>
            <pc:sldMk cId="2222758193" sldId="282"/>
            <ac:spMk id="3" creationId="{C43E122E-FE61-A502-CA23-3AA769383593}"/>
          </ac:spMkLst>
        </pc:spChg>
        <pc:graphicFrameChg chg="modGraphic">
          <ac:chgData name="Ana Blasi Sanchiz" userId="ade4f707-3308-4888-b575-5e32ac6efcc8" providerId="ADAL" clId="{3FCB68A5-A67A-4BCA-BD68-164F6017F65A}" dt="2023-11-29T09:53:34.035" v="203" actId="2164"/>
          <ac:graphicFrameMkLst>
            <pc:docMk/>
            <pc:sldMk cId="2222758193" sldId="282"/>
            <ac:graphicFrameMk id="16" creationId="{0D535A8F-0267-D9E8-06E0-D09979048D43}"/>
          </ac:graphicFrameMkLst>
        </pc:graphicFrameChg>
        <pc:picChg chg="del">
          <ac:chgData name="Ana Blasi Sanchiz" userId="ade4f707-3308-4888-b575-5e32ac6efcc8" providerId="ADAL" clId="{3FCB68A5-A67A-4BCA-BD68-164F6017F65A}" dt="2023-11-29T09:55:30.638" v="207" actId="478"/>
          <ac:picMkLst>
            <pc:docMk/>
            <pc:sldMk cId="2222758193" sldId="282"/>
            <ac:picMk id="22" creationId="{6091C463-4A04-41F3-524F-672A9285AF05}"/>
          </ac:picMkLst>
        </pc:picChg>
      </pc:sldChg>
      <pc:sldChg chg="addSp delSp modSp mod">
        <pc:chgData name="Ana Blasi Sanchiz" userId="ade4f707-3308-4888-b575-5e32ac6efcc8" providerId="ADAL" clId="{3FCB68A5-A67A-4BCA-BD68-164F6017F65A}" dt="2023-11-29T09:55:38.232" v="208" actId="478"/>
        <pc:sldMkLst>
          <pc:docMk/>
          <pc:sldMk cId="2820351508" sldId="283"/>
        </pc:sldMkLst>
        <pc:spChg chg="add mod">
          <ac:chgData name="Ana Blasi Sanchiz" userId="ade4f707-3308-4888-b575-5e32ac6efcc8" providerId="ADAL" clId="{3FCB68A5-A67A-4BCA-BD68-164F6017F65A}" dt="2023-11-29T09:55:38.232" v="208" actId="478"/>
          <ac:spMkLst>
            <pc:docMk/>
            <pc:sldMk cId="2820351508" sldId="283"/>
            <ac:spMk id="3" creationId="{6015511F-2310-2ADF-E54E-9605930D9EF3}"/>
          </ac:spMkLst>
        </pc:spChg>
        <pc:graphicFrameChg chg="del">
          <ac:chgData name="Ana Blasi Sanchiz" userId="ade4f707-3308-4888-b575-5e32ac6efcc8" providerId="ADAL" clId="{3FCB68A5-A67A-4BCA-BD68-164F6017F65A}" dt="2023-11-29T09:54:28.922" v="206" actId="478"/>
          <ac:graphicFrameMkLst>
            <pc:docMk/>
            <pc:sldMk cId="2820351508" sldId="283"/>
            <ac:graphicFrameMk id="20" creationId="{D2D15B03-8726-F112-33D7-86F8852EB7D0}"/>
          </ac:graphicFrameMkLst>
        </pc:graphicFrameChg>
        <pc:picChg chg="del">
          <ac:chgData name="Ana Blasi Sanchiz" userId="ade4f707-3308-4888-b575-5e32ac6efcc8" providerId="ADAL" clId="{3FCB68A5-A67A-4BCA-BD68-164F6017F65A}" dt="2023-11-29T09:55:38.232" v="208" actId="478"/>
          <ac:picMkLst>
            <pc:docMk/>
            <pc:sldMk cId="2820351508" sldId="283"/>
            <ac:picMk id="14" creationId="{A7558C74-2784-E587-0D02-82D90E1F76C5}"/>
          </ac:picMkLst>
        </pc:picChg>
      </pc:sldChg>
      <pc:sldChg chg="add del">
        <pc:chgData name="Ana Blasi Sanchiz" userId="ade4f707-3308-4888-b575-5e32ac6efcc8" providerId="ADAL" clId="{3FCB68A5-A67A-4BCA-BD68-164F6017F65A}" dt="2023-11-28T15:09:47.382" v="123"/>
        <pc:sldMkLst>
          <pc:docMk/>
          <pc:sldMk cId="2040955981" sldId="284"/>
        </pc:sldMkLst>
      </pc:sldChg>
      <pc:sldChg chg="modSp add mod ord">
        <pc:chgData name="Ana Blasi Sanchiz" userId="ade4f707-3308-4888-b575-5e32ac6efcc8" providerId="ADAL" clId="{3FCB68A5-A67A-4BCA-BD68-164F6017F65A}" dt="2023-11-28T15:16:33.986" v="196" actId="20578"/>
        <pc:sldMkLst>
          <pc:docMk/>
          <pc:sldMk cId="1247413772" sldId="2147480855"/>
        </pc:sldMkLst>
        <pc:spChg chg="mod">
          <ac:chgData name="Ana Blasi Sanchiz" userId="ade4f707-3308-4888-b575-5e32ac6efcc8" providerId="ADAL" clId="{3FCB68A5-A67A-4BCA-BD68-164F6017F65A}" dt="2023-11-28T15:16:32.307" v="195" actId="27636"/>
          <ac:spMkLst>
            <pc:docMk/>
            <pc:sldMk cId="1247413772" sldId="2147480855"/>
            <ac:spMk id="28" creationId="{FC71D5EB-1CC1-F21C-B4B6-F371830D41B7}"/>
          </ac:spMkLst>
        </pc:spChg>
      </pc:sldChg>
      <pc:sldChg chg="modSp add mod ord modNotesTx">
        <pc:chgData name="Ana Blasi Sanchiz" userId="ade4f707-3308-4888-b575-5e32ac6efcc8" providerId="ADAL" clId="{3FCB68A5-A67A-4BCA-BD68-164F6017F65A}" dt="2023-11-28T15:16:31.357" v="193"/>
        <pc:sldMkLst>
          <pc:docMk/>
          <pc:sldMk cId="1994944248" sldId="2147480859"/>
        </pc:sldMkLst>
        <pc:spChg chg="mod">
          <ac:chgData name="Ana Blasi Sanchiz" userId="ade4f707-3308-4888-b575-5e32ac6efcc8" providerId="ADAL" clId="{3FCB68A5-A67A-4BCA-BD68-164F6017F65A}" dt="2023-11-28T15:14:38.624" v="147" actId="20577"/>
          <ac:spMkLst>
            <pc:docMk/>
            <pc:sldMk cId="1994944248" sldId="2147480859"/>
            <ac:spMk id="13" creationId="{CC8CFDEA-FE51-EDB2-D540-E04D15301467}"/>
          </ac:spMkLst>
        </pc:spChg>
      </pc:sldChg>
      <pc:sldChg chg="delSp add mod ord">
        <pc:chgData name="Ana Blasi Sanchiz" userId="ade4f707-3308-4888-b575-5e32ac6efcc8" providerId="ADAL" clId="{3FCB68A5-A67A-4BCA-BD68-164F6017F65A}" dt="2023-11-28T15:11:36.384" v="136" actId="478"/>
        <pc:sldMkLst>
          <pc:docMk/>
          <pc:sldMk cId="773265824" sldId="2147480863"/>
        </pc:sldMkLst>
        <pc:spChg chg="del">
          <ac:chgData name="Ana Blasi Sanchiz" userId="ade4f707-3308-4888-b575-5e32ac6efcc8" providerId="ADAL" clId="{3FCB68A5-A67A-4BCA-BD68-164F6017F65A}" dt="2023-11-28T15:11:36.384" v="136" actId="478"/>
          <ac:spMkLst>
            <pc:docMk/>
            <pc:sldMk cId="773265824" sldId="2147480863"/>
            <ac:spMk id="3" creationId="{3C17ACFC-7AA2-CE2C-749F-CB692D1AF9F5}"/>
          </ac:spMkLst>
        </pc:spChg>
      </pc:sldChg>
      <pc:sldChg chg="addSp delSp modSp add mod ord modClrScheme chgLayout">
        <pc:chgData name="Ana Blasi Sanchiz" userId="ade4f707-3308-4888-b575-5e32ac6efcc8" providerId="ADAL" clId="{3FCB68A5-A67A-4BCA-BD68-164F6017F65A}" dt="2023-11-30T14:52:21.435" v="347" actId="1036"/>
        <pc:sldMkLst>
          <pc:docMk/>
          <pc:sldMk cId="2322669567" sldId="2147480870"/>
        </pc:sldMkLst>
        <pc:spChg chg="mod ord">
          <ac:chgData name="Ana Blasi Sanchiz" userId="ade4f707-3308-4888-b575-5e32ac6efcc8" providerId="ADAL" clId="{3FCB68A5-A67A-4BCA-BD68-164F6017F65A}" dt="2023-11-30T14:50:15.104" v="326" actId="700"/>
          <ac:spMkLst>
            <pc:docMk/>
            <pc:sldMk cId="2322669567" sldId="2147480870"/>
            <ac:spMk id="2" creationId="{7CBDC865-EAD7-1FE8-BF91-AAE8EFFD6DF9}"/>
          </ac:spMkLst>
        </pc:spChg>
        <pc:spChg chg="add mod ord">
          <ac:chgData name="Ana Blasi Sanchiz" userId="ade4f707-3308-4888-b575-5e32ac6efcc8" providerId="ADAL" clId="{3FCB68A5-A67A-4BCA-BD68-164F6017F65A}" dt="2023-11-30T14:52:21.435" v="347" actId="1036"/>
          <ac:spMkLst>
            <pc:docMk/>
            <pc:sldMk cId="2322669567" sldId="2147480870"/>
            <ac:spMk id="3" creationId="{ADA85E1C-E463-3479-3321-FFE705AD784A}"/>
          </ac:spMkLst>
        </pc:spChg>
        <pc:spChg chg="del mod">
          <ac:chgData name="Ana Blasi Sanchiz" userId="ade4f707-3308-4888-b575-5e32ac6efcc8" providerId="ADAL" clId="{3FCB68A5-A67A-4BCA-BD68-164F6017F65A}" dt="2023-11-30T14:52:05.848" v="332" actId="478"/>
          <ac:spMkLst>
            <pc:docMk/>
            <pc:sldMk cId="2322669567" sldId="2147480870"/>
            <ac:spMk id="8" creationId="{C7746BE7-E8F1-6827-7500-AB12AC513F13}"/>
          </ac:spMkLst>
        </pc:spChg>
      </pc:sldChg>
      <pc:sldChg chg="modSp add del mod">
        <pc:chgData name="Ana Blasi Sanchiz" userId="ade4f707-3308-4888-b575-5e32ac6efcc8" providerId="ADAL" clId="{3FCB68A5-A67A-4BCA-BD68-164F6017F65A}" dt="2023-12-11T17:41:03.602" v="616"/>
        <pc:sldMkLst>
          <pc:docMk/>
          <pc:sldMk cId="615151716" sldId="2147480871"/>
        </pc:sldMkLst>
        <pc:spChg chg="mod">
          <ac:chgData name="Ana Blasi Sanchiz" userId="ade4f707-3308-4888-b575-5e32ac6efcc8" providerId="ADAL" clId="{3FCB68A5-A67A-4BCA-BD68-164F6017F65A}" dt="2023-12-11T17:41:02.834" v="615"/>
          <ac:spMkLst>
            <pc:docMk/>
            <pc:sldMk cId="615151716" sldId="2147480871"/>
            <ac:spMk id="2" creationId="{65E5CEF4-0456-9DC4-4BA8-605A2AE6DDEF}"/>
          </ac:spMkLst>
        </pc:spChg>
      </pc:sldChg>
      <pc:sldChg chg="addSp delSp modSp add del mod">
        <pc:chgData name="Ana Blasi Sanchiz" userId="ade4f707-3308-4888-b575-5e32ac6efcc8" providerId="ADAL" clId="{3FCB68A5-A67A-4BCA-BD68-164F6017F65A}" dt="2023-12-11T20:01:01.913" v="669" actId="47"/>
        <pc:sldMkLst>
          <pc:docMk/>
          <pc:sldMk cId="2205658449" sldId="2147480871"/>
        </pc:sldMkLst>
        <pc:spChg chg="add del">
          <ac:chgData name="Ana Blasi Sanchiz" userId="ade4f707-3308-4888-b575-5e32ac6efcc8" providerId="ADAL" clId="{3FCB68A5-A67A-4BCA-BD68-164F6017F65A}" dt="2023-12-11T17:42:28.876" v="650" actId="22"/>
          <ac:spMkLst>
            <pc:docMk/>
            <pc:sldMk cId="2205658449" sldId="2147480871"/>
            <ac:spMk id="7" creationId="{1F97F88C-5702-8EB1-F67F-A629C4F6D911}"/>
          </ac:spMkLst>
        </pc:spChg>
        <pc:spChg chg="mod">
          <ac:chgData name="Ana Blasi Sanchiz" userId="ade4f707-3308-4888-b575-5e32ac6efcc8" providerId="ADAL" clId="{3FCB68A5-A67A-4BCA-BD68-164F6017F65A}" dt="2023-12-11T17:42:01.350" v="644" actId="20577"/>
          <ac:spMkLst>
            <pc:docMk/>
            <pc:sldMk cId="2205658449" sldId="2147480871"/>
            <ac:spMk id="14" creationId="{E58102D9-244B-0A5A-039F-D77C94BCEA26}"/>
          </ac:spMkLst>
        </pc:spChg>
        <pc:spChg chg="mod">
          <ac:chgData name="Ana Blasi Sanchiz" userId="ade4f707-3308-4888-b575-5e32ac6efcc8" providerId="ADAL" clId="{3FCB68A5-A67A-4BCA-BD68-164F6017F65A}" dt="2023-12-11T17:43:15.474" v="662"/>
          <ac:spMkLst>
            <pc:docMk/>
            <pc:sldMk cId="2205658449" sldId="2147480871"/>
            <ac:spMk id="15" creationId="{9062D13D-FFCB-916F-4A40-B7F8CFF20B29}"/>
          </ac:spMkLst>
        </pc:spChg>
        <pc:spChg chg="mod">
          <ac:chgData name="Ana Blasi Sanchiz" userId="ade4f707-3308-4888-b575-5e32ac6efcc8" providerId="ADAL" clId="{3FCB68A5-A67A-4BCA-BD68-164F6017F65A}" dt="2023-12-11T20:00:34.247" v="665"/>
          <ac:spMkLst>
            <pc:docMk/>
            <pc:sldMk cId="2205658449" sldId="2147480871"/>
            <ac:spMk id="17" creationId="{75AF703F-0DFD-C65E-7642-13746033CCDC}"/>
          </ac:spMkLst>
        </pc:spChg>
        <pc:spChg chg="mod">
          <ac:chgData name="Ana Blasi Sanchiz" userId="ade4f707-3308-4888-b575-5e32ac6efcc8" providerId="ADAL" clId="{3FCB68A5-A67A-4BCA-BD68-164F6017F65A}" dt="2023-12-11T20:00:32.507" v="664"/>
          <ac:spMkLst>
            <pc:docMk/>
            <pc:sldMk cId="2205658449" sldId="2147480871"/>
            <ac:spMk id="18" creationId="{BAD7F6BF-FBA3-543F-9EBA-C9B28B6EB7C6}"/>
          </ac:spMkLst>
        </pc:spChg>
        <pc:spChg chg="mod">
          <ac:chgData name="Ana Blasi Sanchiz" userId="ade4f707-3308-4888-b575-5e32ac6efcc8" providerId="ADAL" clId="{3FCB68A5-A67A-4BCA-BD68-164F6017F65A}" dt="2023-12-11T20:00:49.667" v="668" actId="20577"/>
          <ac:spMkLst>
            <pc:docMk/>
            <pc:sldMk cId="2205658449" sldId="2147480871"/>
            <ac:spMk id="20" creationId="{24F160FD-0FBC-8139-88F4-2075C2F69D7C}"/>
          </ac:spMkLst>
        </pc:spChg>
      </pc:sldChg>
      <pc:sldMasterChg chg="addSp delSp modSp mod modSldLayout sldLayoutOrd">
        <pc:chgData name="Ana Blasi Sanchiz" userId="ade4f707-3308-4888-b575-5e32ac6efcc8" providerId="ADAL" clId="{3FCB68A5-A67A-4BCA-BD68-164F6017F65A}" dt="2023-12-11T17:06:20.940" v="399" actId="208"/>
        <pc:sldMasterMkLst>
          <pc:docMk/>
          <pc:sldMasterMk cId="2201614670" sldId="2147483659"/>
        </pc:sldMasterMkLst>
        <pc:spChg chg="add mod">
          <ac:chgData name="Ana Blasi Sanchiz" userId="ade4f707-3308-4888-b575-5e32ac6efcc8" providerId="ADAL" clId="{3FCB68A5-A67A-4BCA-BD68-164F6017F65A}" dt="2023-11-29T13:49:29.871" v="259"/>
          <ac:spMkLst>
            <pc:docMk/>
            <pc:sldMasterMk cId="2201614670" sldId="2147483659"/>
            <ac:spMk id="4" creationId="{D6937833-C3E1-090B-83AE-3248079EF94D}"/>
          </ac:spMkLst>
        </pc:spChg>
        <pc:spChg chg="del">
          <ac:chgData name="Ana Blasi Sanchiz" userId="ade4f707-3308-4888-b575-5e32ac6efcc8" providerId="ADAL" clId="{3FCB68A5-A67A-4BCA-BD68-164F6017F65A}" dt="2023-11-29T13:49:32.582" v="260" actId="478"/>
          <ac:spMkLst>
            <pc:docMk/>
            <pc:sldMasterMk cId="2201614670" sldId="2147483659"/>
            <ac:spMk id="20" creationId="{AC28FA70-87E4-49F4-AFDE-345AA28E0BE7}"/>
          </ac:spMkLst>
        </pc:spChg>
        <pc:cxnChg chg="add mod">
          <ac:chgData name="Ana Blasi Sanchiz" userId="ade4f707-3308-4888-b575-5e32ac6efcc8" providerId="ADAL" clId="{3FCB68A5-A67A-4BCA-BD68-164F6017F65A}" dt="2023-12-11T17:06:20.940" v="399" actId="208"/>
          <ac:cxnSpMkLst>
            <pc:docMk/>
            <pc:sldMasterMk cId="2201614670" sldId="2147483659"/>
            <ac:cxnSpMk id="7" creationId="{198841BC-B4DE-243A-CAFB-F49DC5F76382}"/>
          </ac:cxnSpMkLst>
        </pc:cxnChg>
        <pc:sldLayoutChg chg="addSp delSp mod">
          <pc:chgData name="Ana Blasi Sanchiz" userId="ade4f707-3308-4888-b575-5e32ac6efcc8" providerId="ADAL" clId="{3FCB68A5-A67A-4BCA-BD68-164F6017F65A}" dt="2023-11-29T15:02:04.048" v="301" actId="478"/>
          <pc:sldLayoutMkLst>
            <pc:docMk/>
            <pc:sldMasterMk cId="2201614670" sldId="2147483659"/>
            <pc:sldLayoutMk cId="380938790" sldId="2147483664"/>
          </pc:sldLayoutMkLst>
          <pc:spChg chg="add del">
            <ac:chgData name="Ana Blasi Sanchiz" userId="ade4f707-3308-4888-b575-5e32ac6efcc8" providerId="ADAL" clId="{3FCB68A5-A67A-4BCA-BD68-164F6017F65A}" dt="2023-11-29T15:02:04.048" v="301" actId="478"/>
            <ac:spMkLst>
              <pc:docMk/>
              <pc:sldMasterMk cId="2201614670" sldId="2147483659"/>
              <pc:sldLayoutMk cId="380938790" sldId="2147483664"/>
              <ac:spMk id="4" creationId="{7F5FDC76-F946-4827-A773-FCD68068B859}"/>
            </ac:spMkLst>
          </pc:spChg>
        </pc:sldLayoutChg>
        <pc:sldLayoutChg chg="addSp delSp mod">
          <pc:chgData name="Ana Blasi Sanchiz" userId="ade4f707-3308-4888-b575-5e32ac6efcc8" providerId="ADAL" clId="{3FCB68A5-A67A-4BCA-BD68-164F6017F65A}" dt="2023-11-29T15:01:57.100" v="285" actId="478"/>
          <pc:sldLayoutMkLst>
            <pc:docMk/>
            <pc:sldMasterMk cId="2201614670" sldId="2147483659"/>
            <pc:sldLayoutMk cId="1721094763" sldId="2147483668"/>
          </pc:sldLayoutMkLst>
          <pc:spChg chg="add del">
            <ac:chgData name="Ana Blasi Sanchiz" userId="ade4f707-3308-4888-b575-5e32ac6efcc8" providerId="ADAL" clId="{3FCB68A5-A67A-4BCA-BD68-164F6017F65A}" dt="2023-11-29T15:01:57.100" v="285" actId="478"/>
            <ac:spMkLst>
              <pc:docMk/>
              <pc:sldMasterMk cId="2201614670" sldId="2147483659"/>
              <pc:sldLayoutMk cId="1721094763" sldId="2147483668"/>
              <ac:spMk id="3" creationId="{61AB04F4-59F4-4102-9BBD-DB62B48E184D}"/>
            </ac:spMkLst>
          </pc:spChg>
        </pc:sldLayoutChg>
        <pc:sldLayoutChg chg="addSp delSp mod">
          <pc:chgData name="Ana Blasi Sanchiz" userId="ade4f707-3308-4888-b575-5e32ac6efcc8" providerId="ADAL" clId="{3FCB68A5-A67A-4BCA-BD68-164F6017F65A}" dt="2023-11-29T15:01:56.939" v="284" actId="478"/>
          <pc:sldLayoutMkLst>
            <pc:docMk/>
            <pc:sldMasterMk cId="2201614670" sldId="2147483659"/>
            <pc:sldLayoutMk cId="4056174540" sldId="2147483669"/>
          </pc:sldLayoutMkLst>
          <pc:spChg chg="add del">
            <ac:chgData name="Ana Blasi Sanchiz" userId="ade4f707-3308-4888-b575-5e32ac6efcc8" providerId="ADAL" clId="{3FCB68A5-A67A-4BCA-BD68-164F6017F65A}" dt="2023-11-29T15:01:56.939" v="284" actId="478"/>
            <ac:spMkLst>
              <pc:docMk/>
              <pc:sldMasterMk cId="2201614670" sldId="2147483659"/>
              <pc:sldLayoutMk cId="4056174540" sldId="2147483669"/>
              <ac:spMk id="3" creationId="{C7C562FF-E912-4424-B259-AED677C026AF}"/>
            </ac:spMkLst>
          </pc:spChg>
        </pc:sldLayoutChg>
        <pc:sldLayoutChg chg="addSp delSp mod">
          <pc:chgData name="Ana Blasi Sanchiz" userId="ade4f707-3308-4888-b575-5e32ac6efcc8" providerId="ADAL" clId="{3FCB68A5-A67A-4BCA-BD68-164F6017F65A}" dt="2023-11-29T15:02:03.350" v="300" actId="478"/>
          <pc:sldLayoutMkLst>
            <pc:docMk/>
            <pc:sldMasterMk cId="2201614670" sldId="2147483659"/>
            <pc:sldLayoutMk cId="1746205330" sldId="2147483676"/>
          </pc:sldLayoutMkLst>
          <pc:spChg chg="add del">
            <ac:chgData name="Ana Blasi Sanchiz" userId="ade4f707-3308-4888-b575-5e32ac6efcc8" providerId="ADAL" clId="{3FCB68A5-A67A-4BCA-BD68-164F6017F65A}" dt="2023-11-29T15:02:03.350" v="300" actId="478"/>
            <ac:spMkLst>
              <pc:docMk/>
              <pc:sldMasterMk cId="2201614670" sldId="2147483659"/>
              <pc:sldLayoutMk cId="1746205330" sldId="2147483676"/>
              <ac:spMk id="6" creationId="{ED7373D8-2AB5-4625-822C-B1F2B5CDC39C}"/>
            </ac:spMkLst>
          </pc:spChg>
        </pc:sldLayoutChg>
        <pc:sldLayoutChg chg="addSp delSp mod">
          <pc:chgData name="Ana Blasi Sanchiz" userId="ade4f707-3308-4888-b575-5e32ac6efcc8" providerId="ADAL" clId="{3FCB68A5-A67A-4BCA-BD68-164F6017F65A}" dt="2023-11-29T15:02:02.780" v="299" actId="478"/>
          <pc:sldLayoutMkLst>
            <pc:docMk/>
            <pc:sldMasterMk cId="2201614670" sldId="2147483659"/>
            <pc:sldLayoutMk cId="872910482" sldId="2147483677"/>
          </pc:sldLayoutMkLst>
          <pc:spChg chg="add del">
            <ac:chgData name="Ana Blasi Sanchiz" userId="ade4f707-3308-4888-b575-5e32ac6efcc8" providerId="ADAL" clId="{3FCB68A5-A67A-4BCA-BD68-164F6017F65A}" dt="2023-11-29T15:02:02.780" v="299" actId="478"/>
            <ac:spMkLst>
              <pc:docMk/>
              <pc:sldMasterMk cId="2201614670" sldId="2147483659"/>
              <pc:sldLayoutMk cId="872910482" sldId="2147483677"/>
              <ac:spMk id="6" creationId="{12B54F7E-BDC4-4386-B2E2-1FC66609D14F}"/>
            </ac:spMkLst>
          </pc:spChg>
        </pc:sldLayoutChg>
        <pc:sldLayoutChg chg="addSp delSp mod">
          <pc:chgData name="Ana Blasi Sanchiz" userId="ade4f707-3308-4888-b575-5e32ac6efcc8" providerId="ADAL" clId="{3FCB68A5-A67A-4BCA-BD68-164F6017F65A}" dt="2023-11-29T15:01:58.791" v="291" actId="478"/>
          <pc:sldLayoutMkLst>
            <pc:docMk/>
            <pc:sldMasterMk cId="2201614670" sldId="2147483659"/>
            <pc:sldLayoutMk cId="565122940" sldId="2147483688"/>
          </pc:sldLayoutMkLst>
          <pc:spChg chg="add del">
            <ac:chgData name="Ana Blasi Sanchiz" userId="ade4f707-3308-4888-b575-5e32ac6efcc8" providerId="ADAL" clId="{3FCB68A5-A67A-4BCA-BD68-164F6017F65A}" dt="2023-11-29T15:01:58.791" v="291" actId="478"/>
            <ac:spMkLst>
              <pc:docMk/>
              <pc:sldMasterMk cId="2201614670" sldId="2147483659"/>
              <pc:sldLayoutMk cId="565122940" sldId="2147483688"/>
              <ac:spMk id="4" creationId="{B34CA048-4C69-97C2-D5D5-72DAB42EE08F}"/>
            </ac:spMkLst>
          </pc:spChg>
        </pc:sldLayoutChg>
        <pc:sldLayoutChg chg="addSp delSp mod">
          <pc:chgData name="Ana Blasi Sanchiz" userId="ade4f707-3308-4888-b575-5e32ac6efcc8" providerId="ADAL" clId="{3FCB68A5-A67A-4BCA-BD68-164F6017F65A}" dt="2023-11-29T15:01:57.949" v="289" actId="478"/>
          <pc:sldLayoutMkLst>
            <pc:docMk/>
            <pc:sldMasterMk cId="2201614670" sldId="2147483659"/>
            <pc:sldLayoutMk cId="2647812609" sldId="2147483689"/>
          </pc:sldLayoutMkLst>
          <pc:spChg chg="add del">
            <ac:chgData name="Ana Blasi Sanchiz" userId="ade4f707-3308-4888-b575-5e32ac6efcc8" providerId="ADAL" clId="{3FCB68A5-A67A-4BCA-BD68-164F6017F65A}" dt="2023-11-29T15:01:57.949" v="289" actId="478"/>
            <ac:spMkLst>
              <pc:docMk/>
              <pc:sldMasterMk cId="2201614670" sldId="2147483659"/>
              <pc:sldLayoutMk cId="2647812609" sldId="2147483689"/>
              <ac:spMk id="4" creationId="{B34CA048-4C69-97C2-D5D5-72DAB42EE08F}"/>
            </ac:spMkLst>
          </pc:spChg>
        </pc:sldLayoutChg>
        <pc:sldLayoutChg chg="addSp delSp mod">
          <pc:chgData name="Ana Blasi Sanchiz" userId="ade4f707-3308-4888-b575-5e32ac6efcc8" providerId="ADAL" clId="{3FCB68A5-A67A-4BCA-BD68-164F6017F65A}" dt="2023-11-29T15:02:02.350" v="298" actId="478"/>
          <pc:sldLayoutMkLst>
            <pc:docMk/>
            <pc:sldMasterMk cId="2201614670" sldId="2147483659"/>
            <pc:sldLayoutMk cId="2725497737" sldId="2147483691"/>
          </pc:sldLayoutMkLst>
          <pc:spChg chg="add del">
            <ac:chgData name="Ana Blasi Sanchiz" userId="ade4f707-3308-4888-b575-5e32ac6efcc8" providerId="ADAL" clId="{3FCB68A5-A67A-4BCA-BD68-164F6017F65A}" dt="2023-11-29T15:02:02.350" v="298" actId="478"/>
            <ac:spMkLst>
              <pc:docMk/>
              <pc:sldMasterMk cId="2201614670" sldId="2147483659"/>
              <pc:sldLayoutMk cId="2725497737" sldId="2147483691"/>
              <ac:spMk id="6" creationId="{12B54F7E-BDC4-4386-B2E2-1FC66609D14F}"/>
            </ac:spMkLst>
          </pc:spChg>
        </pc:sldLayoutChg>
        <pc:sldLayoutChg chg="addSp delSp mod">
          <pc:chgData name="Ana Blasi Sanchiz" userId="ade4f707-3308-4888-b575-5e32ac6efcc8" providerId="ADAL" clId="{3FCB68A5-A67A-4BCA-BD68-164F6017F65A}" dt="2023-11-29T15:01:58.291" v="290" actId="478"/>
          <pc:sldLayoutMkLst>
            <pc:docMk/>
            <pc:sldMasterMk cId="2201614670" sldId="2147483659"/>
            <pc:sldLayoutMk cId="2980276802" sldId="2147483692"/>
          </pc:sldLayoutMkLst>
          <pc:spChg chg="add del">
            <ac:chgData name="Ana Blasi Sanchiz" userId="ade4f707-3308-4888-b575-5e32ac6efcc8" providerId="ADAL" clId="{3FCB68A5-A67A-4BCA-BD68-164F6017F65A}" dt="2023-11-29T15:01:58.291" v="290" actId="478"/>
            <ac:spMkLst>
              <pc:docMk/>
              <pc:sldMasterMk cId="2201614670" sldId="2147483659"/>
              <pc:sldLayoutMk cId="2980276802" sldId="2147483692"/>
              <ac:spMk id="4" creationId="{5DC32045-01AB-27F7-0273-CEAC9E68F62C}"/>
            </ac:spMkLst>
          </pc:spChg>
        </pc:sldLayoutChg>
        <pc:sldLayoutChg chg="addSp delSp modSp mod">
          <pc:chgData name="Ana Blasi Sanchiz" userId="ade4f707-3308-4888-b575-5e32ac6efcc8" providerId="ADAL" clId="{3FCB68A5-A67A-4BCA-BD68-164F6017F65A}" dt="2023-11-29T15:02:02.008" v="297" actId="6549"/>
          <pc:sldLayoutMkLst>
            <pc:docMk/>
            <pc:sldMasterMk cId="2201614670" sldId="2147483659"/>
            <pc:sldLayoutMk cId="2249344544" sldId="2147483693"/>
          </pc:sldLayoutMkLst>
          <pc:spChg chg="add del mod">
            <ac:chgData name="Ana Blasi Sanchiz" userId="ade4f707-3308-4888-b575-5e32ac6efcc8" providerId="ADAL" clId="{3FCB68A5-A67A-4BCA-BD68-164F6017F65A}" dt="2023-11-29T15:02:02.008" v="297" actId="6549"/>
            <ac:spMkLst>
              <pc:docMk/>
              <pc:sldMasterMk cId="2201614670" sldId="2147483659"/>
              <pc:sldLayoutMk cId="2249344544" sldId="2147483693"/>
              <ac:spMk id="6" creationId="{12B54F7E-BDC4-4386-B2E2-1FC66609D14F}"/>
            </ac:spMkLst>
          </pc:spChg>
        </pc:sldLayoutChg>
        <pc:sldLayoutChg chg="addSp delSp mod">
          <pc:chgData name="Ana Blasi Sanchiz" userId="ade4f707-3308-4888-b575-5e32ac6efcc8" providerId="ADAL" clId="{3FCB68A5-A67A-4BCA-BD68-164F6017F65A}" dt="2023-11-29T15:01:57.301" v="286" actId="478"/>
          <pc:sldLayoutMkLst>
            <pc:docMk/>
            <pc:sldMasterMk cId="2201614670" sldId="2147483659"/>
            <pc:sldLayoutMk cId="3984784081" sldId="2147483694"/>
          </pc:sldLayoutMkLst>
          <pc:spChg chg="add del">
            <ac:chgData name="Ana Blasi Sanchiz" userId="ade4f707-3308-4888-b575-5e32ac6efcc8" providerId="ADAL" clId="{3FCB68A5-A67A-4BCA-BD68-164F6017F65A}" dt="2023-11-29T15:01:57.301" v="286" actId="478"/>
            <ac:spMkLst>
              <pc:docMk/>
              <pc:sldMasterMk cId="2201614670" sldId="2147483659"/>
              <pc:sldLayoutMk cId="3984784081" sldId="2147483694"/>
              <ac:spMk id="4" creationId="{9EBB83F9-373E-A84A-68E4-0377CD4E1E36}"/>
            </ac:spMkLst>
          </pc:spChg>
        </pc:sldLayoutChg>
        <pc:sldLayoutChg chg="addSp delSp mod">
          <pc:chgData name="Ana Blasi Sanchiz" userId="ade4f707-3308-4888-b575-5e32ac6efcc8" providerId="ADAL" clId="{3FCB68A5-A67A-4BCA-BD68-164F6017F65A}" dt="2023-11-29T15:01:57.711" v="288" actId="478"/>
          <pc:sldLayoutMkLst>
            <pc:docMk/>
            <pc:sldMasterMk cId="2201614670" sldId="2147483659"/>
            <pc:sldLayoutMk cId="379603716" sldId="2147483695"/>
          </pc:sldLayoutMkLst>
          <pc:spChg chg="add del">
            <ac:chgData name="Ana Blasi Sanchiz" userId="ade4f707-3308-4888-b575-5e32ac6efcc8" providerId="ADAL" clId="{3FCB68A5-A67A-4BCA-BD68-164F6017F65A}" dt="2023-11-29T15:01:57.711" v="288" actId="478"/>
            <ac:spMkLst>
              <pc:docMk/>
              <pc:sldMasterMk cId="2201614670" sldId="2147483659"/>
              <pc:sldLayoutMk cId="379603716" sldId="2147483695"/>
              <ac:spMk id="4" creationId="{51FDD991-0305-98E5-1F99-93E2A5CCD042}"/>
            </ac:spMkLst>
          </pc:spChg>
        </pc:sldLayoutChg>
        <pc:sldLayoutChg chg="addSp delSp mod">
          <pc:chgData name="Ana Blasi Sanchiz" userId="ade4f707-3308-4888-b575-5e32ac6efcc8" providerId="ADAL" clId="{3FCB68A5-A67A-4BCA-BD68-164F6017F65A}" dt="2023-11-29T15:01:56.760" v="283" actId="478"/>
          <pc:sldLayoutMkLst>
            <pc:docMk/>
            <pc:sldMasterMk cId="2201614670" sldId="2147483659"/>
            <pc:sldLayoutMk cId="2300727021" sldId="2147483696"/>
          </pc:sldLayoutMkLst>
          <pc:spChg chg="add del">
            <ac:chgData name="Ana Blasi Sanchiz" userId="ade4f707-3308-4888-b575-5e32ac6efcc8" providerId="ADAL" clId="{3FCB68A5-A67A-4BCA-BD68-164F6017F65A}" dt="2023-11-29T15:01:56.760" v="283" actId="478"/>
            <ac:spMkLst>
              <pc:docMk/>
              <pc:sldMasterMk cId="2201614670" sldId="2147483659"/>
              <pc:sldLayoutMk cId="2300727021" sldId="2147483696"/>
              <ac:spMk id="4" creationId="{017A350A-35DB-6B2B-015B-A54A74BB8645}"/>
            </ac:spMkLst>
          </pc:spChg>
        </pc:sldLayoutChg>
        <pc:sldLayoutChg chg="delSp mod">
          <pc:chgData name="Ana Blasi Sanchiz" userId="ade4f707-3308-4888-b575-5e32ac6efcc8" providerId="ADAL" clId="{3FCB68A5-A67A-4BCA-BD68-164F6017F65A}" dt="2023-11-29T13:50:02.649" v="261" actId="478"/>
          <pc:sldLayoutMkLst>
            <pc:docMk/>
            <pc:sldMasterMk cId="2201614670" sldId="2147483659"/>
            <pc:sldLayoutMk cId="1812055454" sldId="2147483697"/>
          </pc:sldLayoutMkLst>
          <pc:spChg chg="del">
            <ac:chgData name="Ana Blasi Sanchiz" userId="ade4f707-3308-4888-b575-5e32ac6efcc8" providerId="ADAL" clId="{3FCB68A5-A67A-4BCA-BD68-164F6017F65A}" dt="2023-11-29T13:50:02.649" v="261" actId="478"/>
            <ac:spMkLst>
              <pc:docMk/>
              <pc:sldMasterMk cId="2201614670" sldId="2147483659"/>
              <pc:sldLayoutMk cId="1812055454" sldId="2147483697"/>
              <ac:spMk id="4" creationId="{B34CA048-4C69-97C2-D5D5-72DAB42EE08F}"/>
            </ac:spMkLst>
          </pc:spChg>
        </pc:sldLayoutChg>
        <pc:sldLayoutChg chg="addSp delSp mod">
          <pc:chgData name="Ana Blasi Sanchiz" userId="ade4f707-3308-4888-b575-5e32ac6efcc8" providerId="ADAL" clId="{3FCB68A5-A67A-4BCA-BD68-164F6017F65A}" dt="2023-11-29T15:02:01.153" v="295" actId="478"/>
          <pc:sldLayoutMkLst>
            <pc:docMk/>
            <pc:sldMasterMk cId="2201614670" sldId="2147483659"/>
            <pc:sldLayoutMk cId="2685098852" sldId="2147483698"/>
          </pc:sldLayoutMkLst>
          <pc:spChg chg="add del">
            <ac:chgData name="Ana Blasi Sanchiz" userId="ade4f707-3308-4888-b575-5e32ac6efcc8" providerId="ADAL" clId="{3FCB68A5-A67A-4BCA-BD68-164F6017F65A}" dt="2023-11-29T15:02:01.153" v="295" actId="478"/>
            <ac:spMkLst>
              <pc:docMk/>
              <pc:sldMasterMk cId="2201614670" sldId="2147483659"/>
              <pc:sldLayoutMk cId="2685098852" sldId="2147483698"/>
              <ac:spMk id="4" creationId="{B34CA048-4C69-97C2-D5D5-72DAB42EE08F}"/>
            </ac:spMkLst>
          </pc:spChg>
        </pc:sldLayoutChg>
        <pc:sldLayoutChg chg="addSp delSp mod">
          <pc:chgData name="Ana Blasi Sanchiz" userId="ade4f707-3308-4888-b575-5e32ac6efcc8" providerId="ADAL" clId="{3FCB68A5-A67A-4BCA-BD68-164F6017F65A}" dt="2023-11-29T15:02:00.754" v="294" actId="478"/>
          <pc:sldLayoutMkLst>
            <pc:docMk/>
            <pc:sldMasterMk cId="2201614670" sldId="2147483659"/>
            <pc:sldLayoutMk cId="2869471690" sldId="2147483699"/>
          </pc:sldLayoutMkLst>
          <pc:spChg chg="add del">
            <ac:chgData name="Ana Blasi Sanchiz" userId="ade4f707-3308-4888-b575-5e32ac6efcc8" providerId="ADAL" clId="{3FCB68A5-A67A-4BCA-BD68-164F6017F65A}" dt="2023-11-29T15:02:00.754" v="294" actId="478"/>
            <ac:spMkLst>
              <pc:docMk/>
              <pc:sldMasterMk cId="2201614670" sldId="2147483659"/>
              <pc:sldLayoutMk cId="2869471690" sldId="2147483699"/>
              <ac:spMk id="4" creationId="{7F6326C5-0F83-DA3A-98B1-FCF61413B553}"/>
            </ac:spMkLst>
          </pc:spChg>
        </pc:sldLayoutChg>
        <pc:sldLayoutChg chg="addSp delSp modSp mod">
          <pc:chgData name="Ana Blasi Sanchiz" userId="ade4f707-3308-4888-b575-5e32ac6efcc8" providerId="ADAL" clId="{3FCB68A5-A67A-4BCA-BD68-164F6017F65A}" dt="2023-11-29T15:02:00.283" v="293" actId="6549"/>
          <pc:sldLayoutMkLst>
            <pc:docMk/>
            <pc:sldMasterMk cId="2201614670" sldId="2147483659"/>
            <pc:sldLayoutMk cId="1551057373" sldId="2147483700"/>
          </pc:sldLayoutMkLst>
          <pc:spChg chg="add del mod">
            <ac:chgData name="Ana Blasi Sanchiz" userId="ade4f707-3308-4888-b575-5e32ac6efcc8" providerId="ADAL" clId="{3FCB68A5-A67A-4BCA-BD68-164F6017F65A}" dt="2023-11-29T15:02:00.283" v="293" actId="6549"/>
            <ac:spMkLst>
              <pc:docMk/>
              <pc:sldMasterMk cId="2201614670" sldId="2147483659"/>
              <pc:sldLayoutMk cId="1551057373" sldId="2147483700"/>
              <ac:spMk id="4" creationId="{4FFB2D7A-C056-85CA-DEE0-2DD99564ECA1}"/>
            </ac:spMkLst>
          </pc:spChg>
          <pc:spChg chg="add del">
            <ac:chgData name="Ana Blasi Sanchiz" userId="ade4f707-3308-4888-b575-5e32ac6efcc8" providerId="ADAL" clId="{3FCB68A5-A67A-4BCA-BD68-164F6017F65A}" dt="2023-11-28T15:01:00.042" v="70" actId="11529"/>
            <ac:spMkLst>
              <pc:docMk/>
              <pc:sldMasterMk cId="2201614670" sldId="2147483659"/>
              <pc:sldLayoutMk cId="1551057373" sldId="2147483700"/>
              <ac:spMk id="6" creationId="{9A9D4AD6-7B86-6939-5EB9-832A9DF66A43}"/>
            </ac:spMkLst>
          </pc:spChg>
          <pc:spChg chg="add del mod">
            <ac:chgData name="Ana Blasi Sanchiz" userId="ade4f707-3308-4888-b575-5e32ac6efcc8" providerId="ADAL" clId="{3FCB68A5-A67A-4BCA-BD68-164F6017F65A}" dt="2023-11-28T15:01:00.042" v="70" actId="11529"/>
            <ac:spMkLst>
              <pc:docMk/>
              <pc:sldMasterMk cId="2201614670" sldId="2147483659"/>
              <pc:sldLayoutMk cId="1551057373" sldId="2147483700"/>
              <ac:spMk id="11" creationId="{06351DE6-F20B-1639-BC2C-F0CC636481F6}"/>
            </ac:spMkLst>
          </pc:spChg>
          <pc:spChg chg="add del mod">
            <ac:chgData name="Ana Blasi Sanchiz" userId="ade4f707-3308-4888-b575-5e32ac6efcc8" providerId="ADAL" clId="{3FCB68A5-A67A-4BCA-BD68-164F6017F65A}" dt="2023-11-28T15:02:36.212" v="76"/>
            <ac:spMkLst>
              <pc:docMk/>
              <pc:sldMasterMk cId="2201614670" sldId="2147483659"/>
              <pc:sldLayoutMk cId="1551057373" sldId="2147483700"/>
              <ac:spMk id="12" creationId="{19DCFDE0-9522-AAF7-96E6-C1E87FD33E17}"/>
            </ac:spMkLst>
          </pc:spChg>
          <pc:spChg chg="add del mod">
            <ac:chgData name="Ana Blasi Sanchiz" userId="ade4f707-3308-4888-b575-5e32ac6efcc8" providerId="ADAL" clId="{3FCB68A5-A67A-4BCA-BD68-164F6017F65A}" dt="2023-11-28T15:02:36.211" v="74" actId="478"/>
            <ac:spMkLst>
              <pc:docMk/>
              <pc:sldMasterMk cId="2201614670" sldId="2147483659"/>
              <pc:sldLayoutMk cId="1551057373" sldId="2147483700"/>
              <ac:spMk id="13" creationId="{B0DB04EB-F2F9-6195-25FE-06C896DB4334}"/>
            </ac:spMkLst>
          </pc:spChg>
        </pc:sldLayoutChg>
        <pc:sldLayoutChg chg="ord">
          <pc:chgData name="Ana Blasi Sanchiz" userId="ade4f707-3308-4888-b575-5e32ac6efcc8" providerId="ADAL" clId="{3FCB68A5-A67A-4BCA-BD68-164F6017F65A}" dt="2023-11-29T15:01:57.511" v="287" actId="20578"/>
          <pc:sldLayoutMkLst>
            <pc:docMk/>
            <pc:sldMasterMk cId="2201614670" sldId="2147483659"/>
            <pc:sldLayoutMk cId="2838222479" sldId="2147483701"/>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634919-58CF-B74C-996E-4FBA5A80D71F}" type="datetimeFigureOut">
              <a:rPr lang="en-US" smtClean="0"/>
              <a:t>5/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B4504DA-F5FB-0B41-BF75-4FCC4BD279C5}" type="slidenum">
              <a:rPr lang="en-US" smtClean="0"/>
              <a:t>‹#›</a:t>
            </a:fld>
            <a:endParaRPr lang="en-US"/>
          </a:p>
        </p:txBody>
      </p:sp>
    </p:spTree>
    <p:extLst>
      <p:ext uri="{BB962C8B-B14F-4D97-AF65-F5344CB8AC3E}">
        <p14:creationId xmlns:p14="http://schemas.microsoft.com/office/powerpoint/2010/main" val="3331917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4504DA-F5FB-0B41-BF75-4FCC4BD279C5}" type="slidenum">
              <a:rPr lang="en-US" smtClean="0"/>
              <a:t>2</a:t>
            </a:fld>
            <a:endParaRPr lang="en-US"/>
          </a:p>
        </p:txBody>
      </p:sp>
    </p:spTree>
    <p:extLst>
      <p:ext uri="{BB962C8B-B14F-4D97-AF65-F5344CB8AC3E}">
        <p14:creationId xmlns:p14="http://schemas.microsoft.com/office/powerpoint/2010/main" val="3625749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D1D5DB"/>
              </a:solidFill>
              <a:effectLst/>
              <a:latin typeface="Söhne"/>
            </a:endParaRPr>
          </a:p>
        </p:txBody>
      </p:sp>
      <p:sp>
        <p:nvSpPr>
          <p:cNvPr id="4" name="Slide Number Placeholder 3"/>
          <p:cNvSpPr>
            <a:spLocks noGrp="1"/>
          </p:cNvSpPr>
          <p:nvPr>
            <p:ph type="sldNum" sz="quarter" idx="5"/>
          </p:nvPr>
        </p:nvSpPr>
        <p:spPr/>
        <p:txBody>
          <a:bodyPr/>
          <a:lstStyle/>
          <a:p>
            <a:fld id="{CB4504DA-F5FB-0B41-BF75-4FCC4BD279C5}" type="slidenum">
              <a:rPr lang="en-US" smtClean="0"/>
              <a:t>3</a:t>
            </a:fld>
            <a:endParaRPr lang="en-US"/>
          </a:p>
        </p:txBody>
      </p:sp>
    </p:spTree>
    <p:extLst>
      <p:ext uri="{BB962C8B-B14F-4D97-AF65-F5344CB8AC3E}">
        <p14:creationId xmlns:p14="http://schemas.microsoft.com/office/powerpoint/2010/main" val="13925866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CB4504DA-F5FB-0B41-BF75-4FCC4BD279C5}" type="slidenum">
              <a:rPr lang="en-US" smtClean="0"/>
              <a:t>6</a:t>
            </a:fld>
            <a:endParaRPr lang="en-US"/>
          </a:p>
        </p:txBody>
      </p:sp>
    </p:spTree>
    <p:extLst>
      <p:ext uri="{BB962C8B-B14F-4D97-AF65-F5344CB8AC3E}">
        <p14:creationId xmlns:p14="http://schemas.microsoft.com/office/powerpoint/2010/main" val="1269216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CB4504DA-F5FB-0B41-BF75-4FCC4BD279C5}" type="slidenum">
              <a:rPr lang="en-US" smtClean="0"/>
              <a:t>7</a:t>
            </a:fld>
            <a:endParaRPr lang="en-US"/>
          </a:p>
        </p:txBody>
      </p:sp>
    </p:spTree>
    <p:extLst>
      <p:ext uri="{BB962C8B-B14F-4D97-AF65-F5344CB8AC3E}">
        <p14:creationId xmlns:p14="http://schemas.microsoft.com/office/powerpoint/2010/main" val="22723684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CB4504DA-F5FB-0B41-BF75-4FCC4BD279C5}" type="slidenum">
              <a:rPr lang="en-US" smtClean="0"/>
              <a:t>8</a:t>
            </a:fld>
            <a:endParaRPr lang="en-US"/>
          </a:p>
        </p:txBody>
      </p:sp>
    </p:spTree>
    <p:extLst>
      <p:ext uri="{BB962C8B-B14F-4D97-AF65-F5344CB8AC3E}">
        <p14:creationId xmlns:p14="http://schemas.microsoft.com/office/powerpoint/2010/main" val="31183237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with Gray Background">
    <p:spTree>
      <p:nvGrpSpPr>
        <p:cNvPr id="1" name=""/>
        <p:cNvGrpSpPr/>
        <p:nvPr/>
      </p:nvGrpSpPr>
      <p:grpSpPr>
        <a:xfrm>
          <a:off x="0" y="0"/>
          <a:ext cx="0" cy="0"/>
          <a:chOff x="0" y="0"/>
          <a:chExt cx="0" cy="0"/>
        </a:xfrm>
      </p:grpSpPr>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89111" y="869578"/>
            <a:ext cx="4845500"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4"/>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2">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2">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2">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2">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hasCustomPrompt="1"/>
          </p:nvPr>
        </p:nvSpPr>
        <p:spPr>
          <a:xfrm>
            <a:off x="944388" y="2158329"/>
            <a:ext cx="3998354" cy="860400"/>
          </a:xfrm>
          <a:prstGeom prst="rect">
            <a:avLst/>
          </a:prstGeom>
        </p:spPr>
        <p:txBody>
          <a:bodyPr/>
          <a:lstStyle>
            <a:lvl1pPr>
              <a:defRPr sz="2998" b="0">
                <a:solidFill>
                  <a:schemeClr val="bg1"/>
                </a:solidFill>
                <a:latin typeface="EYInterstate Light" panose="02000506000000020004" pitchFamily="2" charset="0"/>
                <a:cs typeface="Arial" pitchFamily="34" charset="0"/>
              </a:defRPr>
            </a:lvl1pPr>
          </a:lstStyle>
          <a:p>
            <a:r>
              <a:rPr lang="en-US"/>
              <a:t>Presentation Tit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hasCustomPrompt="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760" indent="0" algn="ctr">
              <a:buNone/>
              <a:defRPr>
                <a:solidFill>
                  <a:schemeClr val="tx1">
                    <a:tint val="75000"/>
                  </a:schemeClr>
                </a:solidFill>
              </a:defRPr>
            </a:lvl3pPr>
            <a:lvl4pPr marL="1370640" indent="0" algn="ctr">
              <a:buNone/>
              <a:defRPr>
                <a:solidFill>
                  <a:schemeClr val="tx1">
                    <a:tint val="75000"/>
                  </a:schemeClr>
                </a:solidFill>
              </a:defRPr>
            </a:lvl4pPr>
            <a:lvl5pPr marL="1827520" indent="0" algn="ctr">
              <a:buNone/>
              <a:defRPr>
                <a:solidFill>
                  <a:schemeClr val="tx1">
                    <a:tint val="75000"/>
                  </a:schemeClr>
                </a:solidFill>
              </a:defRPr>
            </a:lvl5pPr>
            <a:lvl6pPr marL="2284400" indent="0" algn="ctr">
              <a:buNone/>
              <a:defRPr>
                <a:solidFill>
                  <a:schemeClr val="tx1">
                    <a:tint val="75000"/>
                  </a:schemeClr>
                </a:solidFill>
              </a:defRPr>
            </a:lvl6pPr>
            <a:lvl7pPr marL="2741280" indent="0" algn="ctr">
              <a:buNone/>
              <a:defRPr>
                <a:solidFill>
                  <a:schemeClr val="tx1">
                    <a:tint val="75000"/>
                  </a:schemeClr>
                </a:solidFill>
              </a:defRPr>
            </a:lvl7pPr>
            <a:lvl8pPr marL="3198160" indent="0" algn="ctr">
              <a:buNone/>
              <a:defRPr>
                <a:solidFill>
                  <a:schemeClr val="tx1">
                    <a:tint val="75000"/>
                  </a:schemeClr>
                </a:solidFill>
              </a:defRPr>
            </a:lvl8pPr>
            <a:lvl9pPr marL="3655040" indent="0" algn="ctr">
              <a:buNone/>
              <a:defRPr>
                <a:solidFill>
                  <a:schemeClr val="tx1">
                    <a:tint val="75000"/>
                  </a:schemeClr>
                </a:solidFill>
              </a:defRPr>
            </a:lvl9pPr>
          </a:lstStyle>
          <a:p>
            <a:pPr lvl="0"/>
            <a:r>
              <a:rPr lang="en-US"/>
              <a:t>Subtitle (Date)</a:t>
            </a:r>
            <a:endParaRPr lang="en-GB"/>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a:xfrm>
            <a:off x="10359392" y="4960938"/>
            <a:ext cx="1224912"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 name="Date Placeholder 2">
            <a:extLst>
              <a:ext uri="{FF2B5EF4-FFF2-40B4-BE49-F238E27FC236}">
                <a16:creationId xmlns:a16="http://schemas.microsoft.com/office/drawing/2014/main" id="{B43EAAD2-90D5-AFE7-162D-3549BE429616}"/>
              </a:ext>
            </a:extLst>
          </p:cNvPr>
          <p:cNvSpPr>
            <a:spLocks noGrp="1"/>
          </p:cNvSpPr>
          <p:nvPr>
            <p:ph type="dt" sz="half" idx="11"/>
          </p:nvPr>
        </p:nvSpPr>
        <p:spPr>
          <a:xfrm>
            <a:off x="956215" y="4041940"/>
            <a:ext cx="3942713" cy="367185"/>
          </a:xfrm>
        </p:spPr>
        <p:txBody>
          <a:bodyPr/>
          <a:lstStyle>
            <a:lvl1pPr>
              <a:defRPr sz="2000" b="1">
                <a:solidFill>
                  <a:schemeClr val="bg1"/>
                </a:solidFill>
              </a:defRPr>
            </a:lvl1pPr>
          </a:lstStyle>
          <a:p>
            <a:fld id="{326926D5-F464-43F5-A7AE-77890E782352}" type="datetime3">
              <a:rPr lang="en-US" smtClean="0"/>
              <a:t>11 May 2024</a:t>
            </a:fld>
            <a:endParaRPr lang="en-US" dirty="0"/>
          </a:p>
        </p:txBody>
      </p:sp>
    </p:spTree>
    <p:extLst>
      <p:ext uri="{BB962C8B-B14F-4D97-AF65-F5344CB8AC3E}">
        <p14:creationId xmlns:p14="http://schemas.microsoft.com/office/powerpoint/2010/main" val="2347879826"/>
      </p:ext>
    </p:extLst>
  </p:cSld>
  <p:clrMapOvr>
    <a:masterClrMapping/>
  </p:clrMapOvr>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Two column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880"/>
          </a:xfrm>
        </p:spPr>
        <p:txBody>
          <a:bodyPr/>
          <a:lstStyle>
            <a:lvl1pPr>
              <a:defRPr>
                <a:solidFill>
                  <a:schemeClr val="bg1"/>
                </a:solidFill>
              </a:defRPr>
            </a:lvl1pPr>
          </a:lstStyle>
          <a:p>
            <a:r>
              <a:rPr lang="en-US"/>
              <a:t>Slide title</a:t>
            </a: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063419FE-EF45-496C-BD2D-4A4696BF4B2C}" type="datetime3">
              <a:rPr lang="en-US" smtClean="0"/>
              <a:t>11 May 2024</a:t>
            </a:fld>
            <a:endParaRPr lang="en-IN"/>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t>‹#›</a:t>
            </a:fld>
            <a:endParaRPr/>
          </a:p>
        </p:txBody>
      </p:sp>
      <p:sp>
        <p:nvSpPr>
          <p:cNvPr id="12" name="Picture Placeholder 6">
            <a:extLst>
              <a:ext uri="{FF2B5EF4-FFF2-40B4-BE49-F238E27FC236}">
                <a16:creationId xmlns:a16="http://schemas.microsoft.com/office/drawing/2014/main" id="{951799A0-4F6C-8EAC-0FA0-AD79B9E79536}"/>
              </a:ext>
            </a:extLst>
          </p:cNvPr>
          <p:cNvSpPr>
            <a:spLocks noGrp="1"/>
          </p:cNvSpPr>
          <p:nvPr>
            <p:ph type="pic" sz="quarter" idx="13"/>
          </p:nvPr>
        </p:nvSpPr>
        <p:spPr>
          <a:xfrm>
            <a:off x="624872" y="1112658"/>
            <a:ext cx="3474223" cy="1603110"/>
          </a:xfrm>
        </p:spPr>
        <p:txBody>
          <a:bodyPr/>
          <a:lstStyle/>
          <a:p>
            <a:endParaRPr lang="en-US"/>
          </a:p>
        </p:txBody>
      </p:sp>
      <p:sp>
        <p:nvSpPr>
          <p:cNvPr id="16" name="Picture Placeholder 6">
            <a:extLst>
              <a:ext uri="{FF2B5EF4-FFF2-40B4-BE49-F238E27FC236}">
                <a16:creationId xmlns:a16="http://schemas.microsoft.com/office/drawing/2014/main" id="{44F4585F-6D5D-8E5E-3E20-BF3C7FD04FC9}"/>
              </a:ext>
            </a:extLst>
          </p:cNvPr>
          <p:cNvSpPr>
            <a:spLocks noGrp="1"/>
          </p:cNvSpPr>
          <p:nvPr>
            <p:ph type="pic" sz="quarter" idx="18"/>
          </p:nvPr>
        </p:nvSpPr>
        <p:spPr>
          <a:xfrm>
            <a:off x="4365160" y="1112658"/>
            <a:ext cx="3474223" cy="1603110"/>
          </a:xfrm>
        </p:spPr>
        <p:txBody>
          <a:bodyPr/>
          <a:lstStyle/>
          <a:p>
            <a:endParaRPr lang="en-US"/>
          </a:p>
        </p:txBody>
      </p:sp>
      <p:sp>
        <p:nvSpPr>
          <p:cNvPr id="17" name="Picture Placeholder 6">
            <a:extLst>
              <a:ext uri="{FF2B5EF4-FFF2-40B4-BE49-F238E27FC236}">
                <a16:creationId xmlns:a16="http://schemas.microsoft.com/office/drawing/2014/main" id="{7BA6F85D-500A-B55C-16AF-21D5F5D900C4}"/>
              </a:ext>
            </a:extLst>
          </p:cNvPr>
          <p:cNvSpPr>
            <a:spLocks noGrp="1"/>
          </p:cNvSpPr>
          <p:nvPr>
            <p:ph type="pic" sz="quarter" idx="19"/>
          </p:nvPr>
        </p:nvSpPr>
        <p:spPr>
          <a:xfrm>
            <a:off x="8102825" y="1112658"/>
            <a:ext cx="3474223" cy="1603110"/>
          </a:xfrm>
        </p:spPr>
        <p:txBody>
          <a:bodyPr/>
          <a:lstStyle/>
          <a:p>
            <a:endParaRPr lang="en-US"/>
          </a:p>
        </p:txBody>
      </p:sp>
      <p:cxnSp>
        <p:nvCxnSpPr>
          <p:cNvPr id="3" name="Straight Connector 2">
            <a:extLst>
              <a:ext uri="{FF2B5EF4-FFF2-40B4-BE49-F238E27FC236}">
                <a16:creationId xmlns:a16="http://schemas.microsoft.com/office/drawing/2014/main" id="{2BE3B831-560A-9DA1-92D6-20839917E27E}"/>
              </a:ext>
            </a:extLst>
          </p:cNvPr>
          <p:cNvCxnSpPr/>
          <p:nvPr userDrawn="1"/>
        </p:nvCxnSpPr>
        <p:spPr>
          <a:xfrm>
            <a:off x="609601" y="895019"/>
            <a:ext cx="10972800" cy="0"/>
          </a:xfrm>
          <a:prstGeom prst="line">
            <a:avLst/>
          </a:prstGeom>
          <a:ln w="9525">
            <a:solidFill>
              <a:srgbClr val="FFE7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9344544"/>
      </p:ext>
    </p:extLst>
  </p:cSld>
  <p:clrMapOvr>
    <a:masterClrMapping/>
  </p:clrMapOvr>
  <p:transition/>
  <p:extLst>
    <p:ext uri="{DCECCB84-F9BA-43D5-87BE-67443E8EF086}">
      <p15:sldGuideLst xmlns:p15="http://schemas.microsoft.com/office/powerpoint/2012/main">
        <p15:guide id="2" pos="384">
          <p15:clr>
            <a:srgbClr val="FBAE40"/>
          </p15:clr>
        </p15:guide>
        <p15:guide id="3" pos="7296">
          <p15:clr>
            <a:srgbClr val="FBAE40"/>
          </p15:clr>
        </p15:guide>
        <p15:guide id="4"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Pictures &amp;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D2D85-985F-A131-0FBA-7E89F920B48F}"/>
              </a:ext>
            </a:extLst>
          </p:cNvPr>
          <p:cNvSpPr>
            <a:spLocks noGrp="1"/>
          </p:cNvSpPr>
          <p:nvPr>
            <p:ph type="title" hasCustomPrompt="1"/>
          </p:nvPr>
        </p:nvSpPr>
        <p:spPr/>
        <p:txBody>
          <a:bodyPr/>
          <a:lstStyle/>
          <a:p>
            <a:r>
              <a:rPr lang="en-US"/>
              <a:t>Slide title</a:t>
            </a:r>
          </a:p>
        </p:txBody>
      </p:sp>
      <p:sp>
        <p:nvSpPr>
          <p:cNvPr id="3" name="Date Placeholder 2">
            <a:extLst>
              <a:ext uri="{FF2B5EF4-FFF2-40B4-BE49-F238E27FC236}">
                <a16:creationId xmlns:a16="http://schemas.microsoft.com/office/drawing/2014/main" id="{DB382A53-87A0-442A-AFFD-EFB12A027E49}"/>
              </a:ext>
            </a:extLst>
          </p:cNvPr>
          <p:cNvSpPr>
            <a:spLocks noGrp="1"/>
          </p:cNvSpPr>
          <p:nvPr>
            <p:ph type="dt" sz="half" idx="10"/>
          </p:nvPr>
        </p:nvSpPr>
        <p:spPr/>
        <p:txBody>
          <a:bodyPr/>
          <a:lstStyle/>
          <a:p>
            <a:fld id="{997E69A9-23E8-4EFC-A5F4-2506AF2AF5B8}" type="datetime3">
              <a:rPr lang="en-US" smtClean="0"/>
              <a:t>11 May 2024</a:t>
            </a:fld>
            <a:endParaRPr lang="en-IN"/>
          </a:p>
        </p:txBody>
      </p:sp>
      <p:sp>
        <p:nvSpPr>
          <p:cNvPr id="5" name="Slide Number Placeholder 4">
            <a:extLst>
              <a:ext uri="{FF2B5EF4-FFF2-40B4-BE49-F238E27FC236}">
                <a16:creationId xmlns:a16="http://schemas.microsoft.com/office/drawing/2014/main" id="{DB334649-C8EB-F3E6-E867-EA6DEA8CED51}"/>
              </a:ext>
            </a:extLst>
          </p:cNvPr>
          <p:cNvSpPr>
            <a:spLocks noGrp="1"/>
          </p:cNvSpPr>
          <p:nvPr>
            <p:ph type="sldNum" sz="quarter" idx="12"/>
          </p:nvPr>
        </p:nvSpPr>
        <p:spPr/>
        <p:txBody>
          <a:bodyPr/>
          <a:lstStyle/>
          <a:p>
            <a:r>
              <a:rPr lang="en-GB"/>
              <a:t>Page </a:t>
            </a:r>
            <a:fld id="{F1BC30E3-FFE5-4B91-AA19-87A149EBB9EE}" type="slidenum">
              <a:rPr smtClean="0"/>
              <a:t>‹#›</a:t>
            </a:fld>
            <a:endParaRPr/>
          </a:p>
        </p:txBody>
      </p:sp>
      <p:sp>
        <p:nvSpPr>
          <p:cNvPr id="7" name="Picture Placeholder 6">
            <a:extLst>
              <a:ext uri="{FF2B5EF4-FFF2-40B4-BE49-F238E27FC236}">
                <a16:creationId xmlns:a16="http://schemas.microsoft.com/office/drawing/2014/main" id="{374B9150-8254-C22E-43BF-1D9B53B287CC}"/>
              </a:ext>
            </a:extLst>
          </p:cNvPr>
          <p:cNvSpPr>
            <a:spLocks noGrp="1"/>
          </p:cNvSpPr>
          <p:nvPr>
            <p:ph type="pic" sz="quarter" idx="13"/>
          </p:nvPr>
        </p:nvSpPr>
        <p:spPr>
          <a:xfrm>
            <a:off x="624872" y="1112658"/>
            <a:ext cx="2610241" cy="1719072"/>
          </a:xfrm>
        </p:spPr>
        <p:txBody>
          <a:bodyPr/>
          <a:lstStyle/>
          <a:p>
            <a:endParaRPr lang="en-US"/>
          </a:p>
        </p:txBody>
      </p:sp>
      <p:sp>
        <p:nvSpPr>
          <p:cNvPr id="8" name="Picture Placeholder 6">
            <a:extLst>
              <a:ext uri="{FF2B5EF4-FFF2-40B4-BE49-F238E27FC236}">
                <a16:creationId xmlns:a16="http://schemas.microsoft.com/office/drawing/2014/main" id="{6A0A153A-26E7-3ABF-D180-E65CE0E0F72D}"/>
              </a:ext>
            </a:extLst>
          </p:cNvPr>
          <p:cNvSpPr>
            <a:spLocks noGrp="1"/>
          </p:cNvSpPr>
          <p:nvPr>
            <p:ph type="pic" sz="quarter" idx="14"/>
          </p:nvPr>
        </p:nvSpPr>
        <p:spPr>
          <a:xfrm>
            <a:off x="3406284" y="1112658"/>
            <a:ext cx="2610241" cy="1719072"/>
          </a:xfrm>
        </p:spPr>
        <p:txBody>
          <a:bodyPr/>
          <a:lstStyle/>
          <a:p>
            <a:endParaRPr lang="en-US"/>
          </a:p>
        </p:txBody>
      </p:sp>
      <p:sp>
        <p:nvSpPr>
          <p:cNvPr id="9" name="Picture Placeholder 6">
            <a:extLst>
              <a:ext uri="{FF2B5EF4-FFF2-40B4-BE49-F238E27FC236}">
                <a16:creationId xmlns:a16="http://schemas.microsoft.com/office/drawing/2014/main" id="{03DB2406-836D-35AA-18B8-EFBC5CDFC06D}"/>
              </a:ext>
            </a:extLst>
          </p:cNvPr>
          <p:cNvSpPr>
            <a:spLocks noGrp="1"/>
          </p:cNvSpPr>
          <p:nvPr>
            <p:ph type="pic" sz="quarter" idx="15"/>
          </p:nvPr>
        </p:nvSpPr>
        <p:spPr>
          <a:xfrm>
            <a:off x="6181696" y="1112658"/>
            <a:ext cx="2610241" cy="1719072"/>
          </a:xfrm>
        </p:spPr>
        <p:txBody>
          <a:bodyPr/>
          <a:lstStyle/>
          <a:p>
            <a:endParaRPr lang="en-US"/>
          </a:p>
        </p:txBody>
      </p:sp>
      <p:sp>
        <p:nvSpPr>
          <p:cNvPr id="10" name="Picture Placeholder 6">
            <a:extLst>
              <a:ext uri="{FF2B5EF4-FFF2-40B4-BE49-F238E27FC236}">
                <a16:creationId xmlns:a16="http://schemas.microsoft.com/office/drawing/2014/main" id="{8BEEF1EB-F249-A239-1704-09EAD26CF7A2}"/>
              </a:ext>
            </a:extLst>
          </p:cNvPr>
          <p:cNvSpPr>
            <a:spLocks noGrp="1"/>
          </p:cNvSpPr>
          <p:nvPr>
            <p:ph type="pic" sz="quarter" idx="16"/>
          </p:nvPr>
        </p:nvSpPr>
        <p:spPr>
          <a:xfrm>
            <a:off x="8972159" y="1112658"/>
            <a:ext cx="2610241" cy="1719072"/>
          </a:xfrm>
        </p:spPr>
        <p:txBody>
          <a:bodyPr/>
          <a:lstStyle/>
          <a:p>
            <a:endParaRPr lang="en-US"/>
          </a:p>
        </p:txBody>
      </p:sp>
      <p:cxnSp>
        <p:nvCxnSpPr>
          <p:cNvPr id="6" name="Straight Connector 5">
            <a:extLst>
              <a:ext uri="{FF2B5EF4-FFF2-40B4-BE49-F238E27FC236}">
                <a16:creationId xmlns:a16="http://schemas.microsoft.com/office/drawing/2014/main" id="{9BDE5FE2-3818-1B49-3D58-0A6FC1DAA143}"/>
              </a:ext>
            </a:extLst>
          </p:cNvPr>
          <p:cNvCxnSpPr/>
          <p:nvPr userDrawn="1"/>
        </p:nvCxnSpPr>
        <p:spPr>
          <a:xfrm>
            <a:off x="609601" y="885080"/>
            <a:ext cx="10972800" cy="0"/>
          </a:xfrm>
          <a:prstGeom prst="line">
            <a:avLst/>
          </a:prstGeom>
          <a:ln w="9525">
            <a:solidFill>
              <a:srgbClr val="FFE7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5098852"/>
      </p:ext>
    </p:extLst>
  </p:cSld>
  <p:clrMapOvr>
    <a:masterClrMapping/>
  </p:clrMapOvr>
  <p:transition/>
  <p:extLst>
    <p:ext uri="{DCECCB84-F9BA-43D5-87BE-67443E8EF086}">
      <p15:sldGuideLst xmlns:p15="http://schemas.microsoft.com/office/powerpoint/2012/main">
        <p15:guide id="2" pos="384">
          <p15:clr>
            <a:srgbClr val="FBAE40"/>
          </p15:clr>
        </p15:guide>
        <p15:guide id="3" pos="7296">
          <p15:clr>
            <a:srgbClr val="FBAE40"/>
          </p15:clr>
        </p15:guide>
        <p15:guide id="4" orient="horz" pos="6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6A8E8C-5761-F28A-70E5-8465796B1295}"/>
              </a:ext>
            </a:extLst>
          </p:cNvPr>
          <p:cNvSpPr>
            <a:spLocks noGrp="1"/>
          </p:cNvSpPr>
          <p:nvPr>
            <p:ph type="title" hasCustomPrompt="1"/>
          </p:nvPr>
        </p:nvSpPr>
        <p:spPr/>
        <p:txBody>
          <a:bodyPr/>
          <a:lstStyle/>
          <a:p>
            <a:r>
              <a:rPr lang="en-US"/>
              <a:t>Slide title</a:t>
            </a:r>
          </a:p>
        </p:txBody>
      </p:sp>
      <p:sp>
        <p:nvSpPr>
          <p:cNvPr id="3" name="Date Placeholder 2">
            <a:extLst>
              <a:ext uri="{FF2B5EF4-FFF2-40B4-BE49-F238E27FC236}">
                <a16:creationId xmlns:a16="http://schemas.microsoft.com/office/drawing/2014/main" id="{0CA99CFC-85FC-9C08-9F75-DFC2E29D91A3}"/>
              </a:ext>
            </a:extLst>
          </p:cNvPr>
          <p:cNvSpPr>
            <a:spLocks noGrp="1"/>
          </p:cNvSpPr>
          <p:nvPr>
            <p:ph type="dt" sz="half" idx="10"/>
          </p:nvPr>
        </p:nvSpPr>
        <p:spPr/>
        <p:txBody>
          <a:bodyPr/>
          <a:lstStyle/>
          <a:p>
            <a:fld id="{EB9C2C17-7D13-407D-9776-A9AA6883D087}" type="datetime3">
              <a:rPr lang="en-US" smtClean="0"/>
              <a:t>11 May 2024</a:t>
            </a:fld>
            <a:endParaRPr lang="en-IN"/>
          </a:p>
        </p:txBody>
      </p:sp>
      <p:sp>
        <p:nvSpPr>
          <p:cNvPr id="5" name="Slide Number Placeholder 4">
            <a:extLst>
              <a:ext uri="{FF2B5EF4-FFF2-40B4-BE49-F238E27FC236}">
                <a16:creationId xmlns:a16="http://schemas.microsoft.com/office/drawing/2014/main" id="{949748EB-74D6-6C26-AABE-75B54D448DC3}"/>
              </a:ext>
            </a:extLst>
          </p:cNvPr>
          <p:cNvSpPr>
            <a:spLocks noGrp="1"/>
          </p:cNvSpPr>
          <p:nvPr>
            <p:ph type="sldNum" sz="quarter" idx="12"/>
          </p:nvPr>
        </p:nvSpPr>
        <p:spPr/>
        <p:txBody>
          <a:bodyPr/>
          <a:lstStyle/>
          <a:p>
            <a:r>
              <a:rPr lang="en-GB"/>
              <a:t>Page </a:t>
            </a:r>
            <a:fld id="{F1BC30E3-FFE5-4B91-AA19-87A149EBB9EE}" type="slidenum">
              <a:rPr smtClean="0"/>
              <a:t>‹#›</a:t>
            </a:fld>
            <a:endParaRPr/>
          </a:p>
        </p:txBody>
      </p:sp>
      <p:sp>
        <p:nvSpPr>
          <p:cNvPr id="9" name="Picture Placeholder 5">
            <a:extLst>
              <a:ext uri="{FF2B5EF4-FFF2-40B4-BE49-F238E27FC236}">
                <a16:creationId xmlns:a16="http://schemas.microsoft.com/office/drawing/2014/main" id="{B700BEB4-7359-09C6-8E2B-C08EC9427640}"/>
              </a:ext>
            </a:extLst>
          </p:cNvPr>
          <p:cNvSpPr>
            <a:spLocks noGrp="1"/>
          </p:cNvSpPr>
          <p:nvPr>
            <p:ph type="pic" sz="quarter" idx="16" hasCustomPrompt="1"/>
          </p:nvPr>
        </p:nvSpPr>
        <p:spPr>
          <a:xfrm>
            <a:off x="8741664" y="3850916"/>
            <a:ext cx="2840737" cy="2286000"/>
          </a:xfrm>
        </p:spPr>
        <p:txBody>
          <a:bodyPr/>
          <a:lstStyle>
            <a:lvl1pPr marL="0" indent="0">
              <a:buNone/>
              <a:defRPr sz="100"/>
            </a:lvl1pPr>
          </a:lstStyle>
          <a:p>
            <a:r>
              <a:rPr lang="es-ES_tradnl" dirty="0"/>
              <a:t>.</a:t>
            </a:r>
            <a:endParaRPr lang="en-US" dirty="0"/>
          </a:p>
        </p:txBody>
      </p:sp>
      <p:sp>
        <p:nvSpPr>
          <p:cNvPr id="10" name="Picture Placeholder 6">
            <a:extLst>
              <a:ext uri="{FF2B5EF4-FFF2-40B4-BE49-F238E27FC236}">
                <a16:creationId xmlns:a16="http://schemas.microsoft.com/office/drawing/2014/main" id="{193094ED-F37F-9AD4-D291-D36BD9FD37C1}"/>
              </a:ext>
            </a:extLst>
          </p:cNvPr>
          <p:cNvSpPr>
            <a:spLocks noGrp="1"/>
          </p:cNvSpPr>
          <p:nvPr>
            <p:ph type="pic" sz="quarter" idx="17" hasCustomPrompt="1"/>
          </p:nvPr>
        </p:nvSpPr>
        <p:spPr>
          <a:xfrm>
            <a:off x="8741663" y="1294616"/>
            <a:ext cx="2840737" cy="2286000"/>
          </a:xfrm>
        </p:spPr>
        <p:txBody>
          <a:bodyPr/>
          <a:lstStyle>
            <a:lvl1pPr marL="0" indent="0">
              <a:buNone/>
              <a:defRPr sz="100"/>
            </a:lvl1pPr>
          </a:lstStyle>
          <a:p>
            <a:r>
              <a:rPr lang="es-ES_tradnl" dirty="0"/>
              <a:t>.</a:t>
            </a:r>
            <a:endParaRPr lang="en-US" dirty="0"/>
          </a:p>
        </p:txBody>
      </p:sp>
      <p:cxnSp>
        <p:nvCxnSpPr>
          <p:cNvPr id="6" name="Straight Connector 5">
            <a:extLst>
              <a:ext uri="{FF2B5EF4-FFF2-40B4-BE49-F238E27FC236}">
                <a16:creationId xmlns:a16="http://schemas.microsoft.com/office/drawing/2014/main" id="{B72056B0-F7B4-0155-2001-F4B33370DFB0}"/>
              </a:ext>
            </a:extLst>
          </p:cNvPr>
          <p:cNvCxnSpPr/>
          <p:nvPr userDrawn="1"/>
        </p:nvCxnSpPr>
        <p:spPr>
          <a:xfrm>
            <a:off x="609601" y="885080"/>
            <a:ext cx="10972800" cy="0"/>
          </a:xfrm>
          <a:prstGeom prst="line">
            <a:avLst/>
          </a:prstGeom>
          <a:ln w="9525">
            <a:solidFill>
              <a:srgbClr val="FFE7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947169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ample Deliverab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E1889-28BF-3B03-E3D2-298F69656FC2}"/>
              </a:ext>
            </a:extLst>
          </p:cNvPr>
          <p:cNvSpPr>
            <a:spLocks noGrp="1"/>
          </p:cNvSpPr>
          <p:nvPr>
            <p:ph type="title" hasCustomPrompt="1"/>
          </p:nvPr>
        </p:nvSpPr>
        <p:spPr/>
        <p:txBody>
          <a:bodyPr/>
          <a:lstStyle/>
          <a:p>
            <a:r>
              <a:rPr lang="en-US"/>
              <a:t>Slide title</a:t>
            </a:r>
          </a:p>
        </p:txBody>
      </p:sp>
      <p:sp>
        <p:nvSpPr>
          <p:cNvPr id="3" name="Date Placeholder 2">
            <a:extLst>
              <a:ext uri="{FF2B5EF4-FFF2-40B4-BE49-F238E27FC236}">
                <a16:creationId xmlns:a16="http://schemas.microsoft.com/office/drawing/2014/main" id="{61FD25E1-225B-2A95-1401-21A68D3D2CE6}"/>
              </a:ext>
            </a:extLst>
          </p:cNvPr>
          <p:cNvSpPr>
            <a:spLocks noGrp="1"/>
          </p:cNvSpPr>
          <p:nvPr>
            <p:ph type="dt" sz="half" idx="10"/>
          </p:nvPr>
        </p:nvSpPr>
        <p:spPr/>
        <p:txBody>
          <a:bodyPr/>
          <a:lstStyle/>
          <a:p>
            <a:fld id="{325203C6-8C31-49D5-B235-2AFB19082E8B}" type="datetime3">
              <a:rPr lang="en-US" smtClean="0"/>
              <a:t>11 May 2024</a:t>
            </a:fld>
            <a:endParaRPr lang="en-IN"/>
          </a:p>
        </p:txBody>
      </p:sp>
      <p:sp>
        <p:nvSpPr>
          <p:cNvPr id="5" name="Slide Number Placeholder 4">
            <a:extLst>
              <a:ext uri="{FF2B5EF4-FFF2-40B4-BE49-F238E27FC236}">
                <a16:creationId xmlns:a16="http://schemas.microsoft.com/office/drawing/2014/main" id="{1CC7E0B1-AD0E-4090-3D43-728918D24151}"/>
              </a:ext>
            </a:extLst>
          </p:cNvPr>
          <p:cNvSpPr>
            <a:spLocks noGrp="1"/>
          </p:cNvSpPr>
          <p:nvPr>
            <p:ph type="sldNum" sz="quarter" idx="12"/>
          </p:nvPr>
        </p:nvSpPr>
        <p:spPr/>
        <p:txBody>
          <a:bodyPr/>
          <a:lstStyle/>
          <a:p>
            <a:r>
              <a:rPr lang="en-GB"/>
              <a:t>Page </a:t>
            </a:r>
            <a:fld id="{F1BC30E3-FFE5-4B91-AA19-87A149EBB9EE}" type="slidenum">
              <a:rPr smtClean="0"/>
              <a:t>‹#›</a:t>
            </a:fld>
            <a:endParaRPr/>
          </a:p>
        </p:txBody>
      </p:sp>
      <p:sp>
        <p:nvSpPr>
          <p:cNvPr id="7" name="Picture Placeholder 6">
            <a:extLst>
              <a:ext uri="{FF2B5EF4-FFF2-40B4-BE49-F238E27FC236}">
                <a16:creationId xmlns:a16="http://schemas.microsoft.com/office/drawing/2014/main" id="{F54C2E35-56B5-517B-B4AE-EBF75801F620}"/>
              </a:ext>
            </a:extLst>
          </p:cNvPr>
          <p:cNvSpPr>
            <a:spLocks noGrp="1"/>
          </p:cNvSpPr>
          <p:nvPr>
            <p:ph type="pic" sz="quarter" idx="13"/>
          </p:nvPr>
        </p:nvSpPr>
        <p:spPr>
          <a:xfrm>
            <a:off x="609600" y="1225549"/>
            <a:ext cx="2468880" cy="1317693"/>
          </a:xfrm>
        </p:spPr>
        <p:txBody>
          <a:bodyPr/>
          <a:lstStyle/>
          <a:p>
            <a:endParaRPr lang="en-US"/>
          </a:p>
        </p:txBody>
      </p:sp>
      <p:sp>
        <p:nvSpPr>
          <p:cNvPr id="8" name="Picture Placeholder 6">
            <a:extLst>
              <a:ext uri="{FF2B5EF4-FFF2-40B4-BE49-F238E27FC236}">
                <a16:creationId xmlns:a16="http://schemas.microsoft.com/office/drawing/2014/main" id="{CF2B2303-B0C2-6FC8-A0BF-1FC201E01A4B}"/>
              </a:ext>
            </a:extLst>
          </p:cNvPr>
          <p:cNvSpPr>
            <a:spLocks noGrp="1"/>
          </p:cNvSpPr>
          <p:nvPr>
            <p:ph type="pic" sz="quarter" idx="14"/>
          </p:nvPr>
        </p:nvSpPr>
        <p:spPr>
          <a:xfrm>
            <a:off x="3444240" y="1225549"/>
            <a:ext cx="2468880" cy="1317693"/>
          </a:xfrm>
        </p:spPr>
        <p:txBody>
          <a:bodyPr/>
          <a:lstStyle/>
          <a:p>
            <a:endParaRPr lang="en-US"/>
          </a:p>
        </p:txBody>
      </p:sp>
      <p:sp>
        <p:nvSpPr>
          <p:cNvPr id="9" name="Picture Placeholder 6">
            <a:extLst>
              <a:ext uri="{FF2B5EF4-FFF2-40B4-BE49-F238E27FC236}">
                <a16:creationId xmlns:a16="http://schemas.microsoft.com/office/drawing/2014/main" id="{7FE96DF3-CA4B-B79E-8A1E-C63D34B07A80}"/>
              </a:ext>
            </a:extLst>
          </p:cNvPr>
          <p:cNvSpPr>
            <a:spLocks noGrp="1"/>
          </p:cNvSpPr>
          <p:nvPr>
            <p:ph type="pic" sz="quarter" idx="15"/>
          </p:nvPr>
        </p:nvSpPr>
        <p:spPr>
          <a:xfrm>
            <a:off x="6278880" y="1225549"/>
            <a:ext cx="2468880" cy="1317693"/>
          </a:xfrm>
        </p:spPr>
        <p:txBody>
          <a:bodyPr/>
          <a:lstStyle/>
          <a:p>
            <a:endParaRPr lang="en-US"/>
          </a:p>
        </p:txBody>
      </p:sp>
      <p:sp>
        <p:nvSpPr>
          <p:cNvPr id="10" name="Picture Placeholder 6">
            <a:extLst>
              <a:ext uri="{FF2B5EF4-FFF2-40B4-BE49-F238E27FC236}">
                <a16:creationId xmlns:a16="http://schemas.microsoft.com/office/drawing/2014/main" id="{1999B099-9FFA-870C-E1C7-13ED4662D1F5}"/>
              </a:ext>
            </a:extLst>
          </p:cNvPr>
          <p:cNvSpPr>
            <a:spLocks noGrp="1"/>
          </p:cNvSpPr>
          <p:nvPr>
            <p:ph type="pic" sz="quarter" idx="16"/>
          </p:nvPr>
        </p:nvSpPr>
        <p:spPr>
          <a:xfrm>
            <a:off x="9113520" y="1225549"/>
            <a:ext cx="2468880" cy="1317693"/>
          </a:xfrm>
        </p:spPr>
        <p:txBody>
          <a:bodyPr/>
          <a:lstStyle/>
          <a:p>
            <a:endParaRPr lang="en-US"/>
          </a:p>
        </p:txBody>
      </p:sp>
      <p:sp>
        <p:nvSpPr>
          <p:cNvPr id="15" name="Text Placeholder 11">
            <a:extLst>
              <a:ext uri="{FF2B5EF4-FFF2-40B4-BE49-F238E27FC236}">
                <a16:creationId xmlns:a16="http://schemas.microsoft.com/office/drawing/2014/main" id="{763DAAC3-DE38-C1E2-0F0D-056866A863FB}"/>
              </a:ext>
            </a:extLst>
          </p:cNvPr>
          <p:cNvSpPr>
            <a:spLocks noGrp="1"/>
          </p:cNvSpPr>
          <p:nvPr>
            <p:ph type="body" sz="quarter" idx="21" hasCustomPrompt="1"/>
          </p:nvPr>
        </p:nvSpPr>
        <p:spPr>
          <a:xfrm>
            <a:off x="612648" y="2658122"/>
            <a:ext cx="2465832" cy="871461"/>
          </a:xfrm>
        </p:spPr>
        <p:txBody>
          <a:bodyPr anchor="t"/>
          <a:lstStyle>
            <a:lvl1pPr marL="0" indent="0" algn="l">
              <a:buFont typeface="Arial" pitchFamily="34" charset="0"/>
              <a:buNone/>
              <a:defRPr sz="1200"/>
            </a:lvl1pPr>
          </a:lstStyle>
          <a:p>
            <a:pPr lvl="0"/>
            <a:r>
              <a:rPr lang="en-US"/>
              <a:t>Text</a:t>
            </a:r>
          </a:p>
        </p:txBody>
      </p:sp>
      <p:sp>
        <p:nvSpPr>
          <p:cNvPr id="16" name="Text Placeholder 11">
            <a:extLst>
              <a:ext uri="{FF2B5EF4-FFF2-40B4-BE49-F238E27FC236}">
                <a16:creationId xmlns:a16="http://schemas.microsoft.com/office/drawing/2014/main" id="{221A2BBA-A938-ED78-9B13-D9D6DB8771EC}"/>
              </a:ext>
            </a:extLst>
          </p:cNvPr>
          <p:cNvSpPr>
            <a:spLocks noGrp="1"/>
          </p:cNvSpPr>
          <p:nvPr>
            <p:ph type="body" sz="quarter" idx="22" hasCustomPrompt="1"/>
          </p:nvPr>
        </p:nvSpPr>
        <p:spPr>
          <a:xfrm>
            <a:off x="3446272" y="2658122"/>
            <a:ext cx="2465832" cy="871461"/>
          </a:xfrm>
        </p:spPr>
        <p:txBody>
          <a:bodyPr anchor="t"/>
          <a:lstStyle>
            <a:lvl1pPr marL="0" indent="0" algn="l">
              <a:buFont typeface="Arial" pitchFamily="34" charset="0"/>
              <a:buNone/>
              <a:defRPr sz="1200"/>
            </a:lvl1pPr>
          </a:lstStyle>
          <a:p>
            <a:pPr lvl="0"/>
            <a:r>
              <a:rPr lang="en-US"/>
              <a:t>Text</a:t>
            </a:r>
          </a:p>
        </p:txBody>
      </p:sp>
      <p:sp>
        <p:nvSpPr>
          <p:cNvPr id="17" name="Text Placeholder 11">
            <a:extLst>
              <a:ext uri="{FF2B5EF4-FFF2-40B4-BE49-F238E27FC236}">
                <a16:creationId xmlns:a16="http://schemas.microsoft.com/office/drawing/2014/main" id="{AD737CEC-853E-AE89-D9AA-287AA1AE0DBA}"/>
              </a:ext>
            </a:extLst>
          </p:cNvPr>
          <p:cNvSpPr>
            <a:spLocks noGrp="1"/>
          </p:cNvSpPr>
          <p:nvPr>
            <p:ph type="body" sz="quarter" idx="23" hasCustomPrompt="1"/>
          </p:nvPr>
        </p:nvSpPr>
        <p:spPr>
          <a:xfrm>
            <a:off x="6279896" y="2658122"/>
            <a:ext cx="2465832" cy="871461"/>
          </a:xfrm>
        </p:spPr>
        <p:txBody>
          <a:bodyPr anchor="t"/>
          <a:lstStyle>
            <a:lvl1pPr marL="0" indent="0" algn="l">
              <a:buFont typeface="Arial" pitchFamily="34" charset="0"/>
              <a:buNone/>
              <a:defRPr sz="1200"/>
            </a:lvl1pPr>
          </a:lstStyle>
          <a:p>
            <a:pPr lvl="0"/>
            <a:r>
              <a:rPr lang="en-US"/>
              <a:t>Text</a:t>
            </a:r>
          </a:p>
        </p:txBody>
      </p:sp>
      <p:sp>
        <p:nvSpPr>
          <p:cNvPr id="18" name="Text Placeholder 11">
            <a:extLst>
              <a:ext uri="{FF2B5EF4-FFF2-40B4-BE49-F238E27FC236}">
                <a16:creationId xmlns:a16="http://schemas.microsoft.com/office/drawing/2014/main" id="{1ABB4150-AF07-AD59-E2CE-4632A6763087}"/>
              </a:ext>
            </a:extLst>
          </p:cNvPr>
          <p:cNvSpPr>
            <a:spLocks noGrp="1"/>
          </p:cNvSpPr>
          <p:nvPr>
            <p:ph type="body" sz="quarter" idx="24" hasCustomPrompt="1"/>
          </p:nvPr>
        </p:nvSpPr>
        <p:spPr>
          <a:xfrm>
            <a:off x="9113520" y="2658122"/>
            <a:ext cx="2465832" cy="871461"/>
          </a:xfrm>
        </p:spPr>
        <p:txBody>
          <a:bodyPr anchor="t"/>
          <a:lstStyle>
            <a:lvl1pPr marL="0" indent="0" algn="l">
              <a:buFont typeface="Arial" pitchFamily="34" charset="0"/>
              <a:buNone/>
              <a:defRPr sz="1200"/>
            </a:lvl1pPr>
          </a:lstStyle>
          <a:p>
            <a:pPr lvl="0"/>
            <a:r>
              <a:rPr lang="en-US"/>
              <a:t>Text</a:t>
            </a:r>
          </a:p>
        </p:txBody>
      </p:sp>
      <p:sp>
        <p:nvSpPr>
          <p:cNvPr id="19" name="Picture Placeholder 6">
            <a:extLst>
              <a:ext uri="{FF2B5EF4-FFF2-40B4-BE49-F238E27FC236}">
                <a16:creationId xmlns:a16="http://schemas.microsoft.com/office/drawing/2014/main" id="{C72D9951-26F3-9714-1D2D-09832196D2B7}"/>
              </a:ext>
            </a:extLst>
          </p:cNvPr>
          <p:cNvSpPr>
            <a:spLocks noGrp="1"/>
          </p:cNvSpPr>
          <p:nvPr>
            <p:ph type="pic" sz="quarter" idx="25"/>
          </p:nvPr>
        </p:nvSpPr>
        <p:spPr>
          <a:xfrm>
            <a:off x="606552" y="3809055"/>
            <a:ext cx="2468880" cy="1317693"/>
          </a:xfrm>
        </p:spPr>
        <p:txBody>
          <a:bodyPr/>
          <a:lstStyle/>
          <a:p>
            <a:endParaRPr lang="en-US"/>
          </a:p>
        </p:txBody>
      </p:sp>
      <p:sp>
        <p:nvSpPr>
          <p:cNvPr id="20" name="Picture Placeholder 6">
            <a:extLst>
              <a:ext uri="{FF2B5EF4-FFF2-40B4-BE49-F238E27FC236}">
                <a16:creationId xmlns:a16="http://schemas.microsoft.com/office/drawing/2014/main" id="{1571F92B-21EA-8B3A-DEC6-BCBAADEA609D}"/>
              </a:ext>
            </a:extLst>
          </p:cNvPr>
          <p:cNvSpPr>
            <a:spLocks noGrp="1"/>
          </p:cNvSpPr>
          <p:nvPr>
            <p:ph type="pic" sz="quarter" idx="26"/>
          </p:nvPr>
        </p:nvSpPr>
        <p:spPr>
          <a:xfrm>
            <a:off x="3441192" y="3809055"/>
            <a:ext cx="2468880" cy="1317693"/>
          </a:xfrm>
        </p:spPr>
        <p:txBody>
          <a:bodyPr/>
          <a:lstStyle/>
          <a:p>
            <a:endParaRPr lang="en-US"/>
          </a:p>
        </p:txBody>
      </p:sp>
      <p:sp>
        <p:nvSpPr>
          <p:cNvPr id="21" name="Picture Placeholder 6">
            <a:extLst>
              <a:ext uri="{FF2B5EF4-FFF2-40B4-BE49-F238E27FC236}">
                <a16:creationId xmlns:a16="http://schemas.microsoft.com/office/drawing/2014/main" id="{62C3CEFD-CE6B-7178-E64D-B2298D61C059}"/>
              </a:ext>
            </a:extLst>
          </p:cNvPr>
          <p:cNvSpPr>
            <a:spLocks noGrp="1"/>
          </p:cNvSpPr>
          <p:nvPr>
            <p:ph type="pic" sz="quarter" idx="27"/>
          </p:nvPr>
        </p:nvSpPr>
        <p:spPr>
          <a:xfrm>
            <a:off x="6275832" y="3809055"/>
            <a:ext cx="2468880" cy="1317693"/>
          </a:xfrm>
        </p:spPr>
        <p:txBody>
          <a:bodyPr/>
          <a:lstStyle/>
          <a:p>
            <a:endParaRPr lang="en-US"/>
          </a:p>
        </p:txBody>
      </p:sp>
      <p:sp>
        <p:nvSpPr>
          <p:cNvPr id="22" name="Picture Placeholder 6">
            <a:extLst>
              <a:ext uri="{FF2B5EF4-FFF2-40B4-BE49-F238E27FC236}">
                <a16:creationId xmlns:a16="http://schemas.microsoft.com/office/drawing/2014/main" id="{73C69103-6C9B-CB8D-E9FD-E8FBB9A910D1}"/>
              </a:ext>
            </a:extLst>
          </p:cNvPr>
          <p:cNvSpPr>
            <a:spLocks noGrp="1"/>
          </p:cNvSpPr>
          <p:nvPr>
            <p:ph type="pic" sz="quarter" idx="28"/>
          </p:nvPr>
        </p:nvSpPr>
        <p:spPr>
          <a:xfrm>
            <a:off x="9110472" y="3809055"/>
            <a:ext cx="2468880" cy="1317693"/>
          </a:xfrm>
        </p:spPr>
        <p:txBody>
          <a:bodyPr/>
          <a:lstStyle/>
          <a:p>
            <a:endParaRPr lang="en-US"/>
          </a:p>
        </p:txBody>
      </p:sp>
      <p:sp>
        <p:nvSpPr>
          <p:cNvPr id="23" name="Text Placeholder 11">
            <a:extLst>
              <a:ext uri="{FF2B5EF4-FFF2-40B4-BE49-F238E27FC236}">
                <a16:creationId xmlns:a16="http://schemas.microsoft.com/office/drawing/2014/main" id="{3D382022-4CF2-3297-F4B0-611FB089C492}"/>
              </a:ext>
            </a:extLst>
          </p:cNvPr>
          <p:cNvSpPr>
            <a:spLocks noGrp="1"/>
          </p:cNvSpPr>
          <p:nvPr>
            <p:ph type="body" sz="quarter" idx="29" hasCustomPrompt="1"/>
          </p:nvPr>
        </p:nvSpPr>
        <p:spPr>
          <a:xfrm>
            <a:off x="609600" y="5241628"/>
            <a:ext cx="2465832" cy="871461"/>
          </a:xfrm>
        </p:spPr>
        <p:txBody>
          <a:bodyPr anchor="t"/>
          <a:lstStyle>
            <a:lvl1pPr marL="0" indent="0" algn="l">
              <a:buFont typeface="Arial" pitchFamily="34" charset="0"/>
              <a:buNone/>
              <a:defRPr sz="1200"/>
            </a:lvl1pPr>
          </a:lstStyle>
          <a:p>
            <a:pPr lvl="0"/>
            <a:r>
              <a:rPr lang="en-US"/>
              <a:t>Text</a:t>
            </a:r>
          </a:p>
        </p:txBody>
      </p:sp>
      <p:sp>
        <p:nvSpPr>
          <p:cNvPr id="24" name="Text Placeholder 11">
            <a:extLst>
              <a:ext uri="{FF2B5EF4-FFF2-40B4-BE49-F238E27FC236}">
                <a16:creationId xmlns:a16="http://schemas.microsoft.com/office/drawing/2014/main" id="{6B91B074-F431-9681-F39A-D49E149B92DD}"/>
              </a:ext>
            </a:extLst>
          </p:cNvPr>
          <p:cNvSpPr>
            <a:spLocks noGrp="1"/>
          </p:cNvSpPr>
          <p:nvPr>
            <p:ph type="body" sz="quarter" idx="30" hasCustomPrompt="1"/>
          </p:nvPr>
        </p:nvSpPr>
        <p:spPr>
          <a:xfrm>
            <a:off x="3443224" y="5241628"/>
            <a:ext cx="2465832" cy="871461"/>
          </a:xfrm>
        </p:spPr>
        <p:txBody>
          <a:bodyPr anchor="t"/>
          <a:lstStyle>
            <a:lvl1pPr marL="0" indent="0" algn="l">
              <a:buFont typeface="Arial" pitchFamily="34" charset="0"/>
              <a:buNone/>
              <a:defRPr sz="1200"/>
            </a:lvl1pPr>
          </a:lstStyle>
          <a:p>
            <a:pPr lvl="0"/>
            <a:r>
              <a:rPr lang="en-US"/>
              <a:t>Text</a:t>
            </a:r>
          </a:p>
        </p:txBody>
      </p:sp>
      <p:sp>
        <p:nvSpPr>
          <p:cNvPr id="25" name="Text Placeholder 11">
            <a:extLst>
              <a:ext uri="{FF2B5EF4-FFF2-40B4-BE49-F238E27FC236}">
                <a16:creationId xmlns:a16="http://schemas.microsoft.com/office/drawing/2014/main" id="{92A75D6A-8188-B0A4-804E-9BF8A4F7EDDC}"/>
              </a:ext>
            </a:extLst>
          </p:cNvPr>
          <p:cNvSpPr>
            <a:spLocks noGrp="1"/>
          </p:cNvSpPr>
          <p:nvPr>
            <p:ph type="body" sz="quarter" idx="31" hasCustomPrompt="1"/>
          </p:nvPr>
        </p:nvSpPr>
        <p:spPr>
          <a:xfrm>
            <a:off x="6276848" y="5241628"/>
            <a:ext cx="2465832" cy="871461"/>
          </a:xfrm>
        </p:spPr>
        <p:txBody>
          <a:bodyPr anchor="t"/>
          <a:lstStyle>
            <a:lvl1pPr marL="0" indent="0" algn="l">
              <a:buFont typeface="Arial" pitchFamily="34" charset="0"/>
              <a:buNone/>
              <a:defRPr sz="1200"/>
            </a:lvl1pPr>
          </a:lstStyle>
          <a:p>
            <a:pPr lvl="0"/>
            <a:r>
              <a:rPr lang="en-US"/>
              <a:t>Text</a:t>
            </a:r>
          </a:p>
        </p:txBody>
      </p:sp>
      <p:sp>
        <p:nvSpPr>
          <p:cNvPr id="26" name="Text Placeholder 11">
            <a:extLst>
              <a:ext uri="{FF2B5EF4-FFF2-40B4-BE49-F238E27FC236}">
                <a16:creationId xmlns:a16="http://schemas.microsoft.com/office/drawing/2014/main" id="{26C2F1E5-F7ED-3818-5524-7F6FCA50B28B}"/>
              </a:ext>
            </a:extLst>
          </p:cNvPr>
          <p:cNvSpPr>
            <a:spLocks noGrp="1"/>
          </p:cNvSpPr>
          <p:nvPr>
            <p:ph type="body" sz="quarter" idx="32" hasCustomPrompt="1"/>
          </p:nvPr>
        </p:nvSpPr>
        <p:spPr>
          <a:xfrm>
            <a:off x="9110472" y="5241628"/>
            <a:ext cx="2465832" cy="871461"/>
          </a:xfrm>
        </p:spPr>
        <p:txBody>
          <a:bodyPr anchor="t"/>
          <a:lstStyle>
            <a:lvl1pPr marL="0" indent="0" algn="l">
              <a:buFont typeface="Arial" pitchFamily="34" charset="0"/>
              <a:buNone/>
              <a:defRPr sz="1200"/>
            </a:lvl1pPr>
          </a:lstStyle>
          <a:p>
            <a:pPr lvl="0"/>
            <a:r>
              <a:rPr lang="en-US"/>
              <a:t>Text</a:t>
            </a:r>
          </a:p>
        </p:txBody>
      </p:sp>
      <p:cxnSp>
        <p:nvCxnSpPr>
          <p:cNvPr id="6" name="Straight Connector 5">
            <a:extLst>
              <a:ext uri="{FF2B5EF4-FFF2-40B4-BE49-F238E27FC236}">
                <a16:creationId xmlns:a16="http://schemas.microsoft.com/office/drawing/2014/main" id="{265C34C2-8C5D-537A-80C0-D73F8A65BD92}"/>
              </a:ext>
            </a:extLst>
          </p:cNvPr>
          <p:cNvCxnSpPr/>
          <p:nvPr userDrawn="1"/>
        </p:nvCxnSpPr>
        <p:spPr>
          <a:xfrm>
            <a:off x="609601" y="885080"/>
            <a:ext cx="10972800" cy="0"/>
          </a:xfrm>
          <a:prstGeom prst="line">
            <a:avLst/>
          </a:prstGeom>
          <a:ln w="9525">
            <a:solidFill>
              <a:srgbClr val="FFE7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1057373"/>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A83ABD-3B99-1FA7-710B-BC2067200A6B}"/>
              </a:ext>
            </a:extLst>
          </p:cNvPr>
          <p:cNvSpPr>
            <a:spLocks noGrp="1"/>
          </p:cNvSpPr>
          <p:nvPr>
            <p:ph type="title" hasCustomPrompt="1"/>
          </p:nvPr>
        </p:nvSpPr>
        <p:spPr/>
        <p:txBody>
          <a:bodyPr/>
          <a:lstStyle>
            <a:lvl1pPr>
              <a:defRPr/>
            </a:lvl1pPr>
          </a:lstStyle>
          <a:p>
            <a:r>
              <a:rPr lang="es-ES_tradnl" dirty="0"/>
              <a:t>S</a:t>
            </a:r>
            <a:r>
              <a:rPr lang="en-US" dirty="0" err="1"/>
              <a:t>lide</a:t>
            </a:r>
            <a:r>
              <a:rPr lang="en-US" dirty="0"/>
              <a:t> title</a:t>
            </a:r>
          </a:p>
        </p:txBody>
      </p:sp>
      <p:sp>
        <p:nvSpPr>
          <p:cNvPr id="3" name="Date Placeholder 2">
            <a:extLst>
              <a:ext uri="{FF2B5EF4-FFF2-40B4-BE49-F238E27FC236}">
                <a16:creationId xmlns:a16="http://schemas.microsoft.com/office/drawing/2014/main" id="{5AE5FD54-F34A-D875-2E7B-AD2C75E4AEA8}"/>
              </a:ext>
            </a:extLst>
          </p:cNvPr>
          <p:cNvSpPr>
            <a:spLocks noGrp="1"/>
          </p:cNvSpPr>
          <p:nvPr>
            <p:ph type="dt" sz="half" idx="10"/>
          </p:nvPr>
        </p:nvSpPr>
        <p:spPr/>
        <p:txBody>
          <a:bodyPr/>
          <a:lstStyle/>
          <a:p>
            <a:fld id="{98BC6002-81DB-404D-9BE7-A4E79F07AFA8}" type="datetime3">
              <a:rPr lang="en-US" smtClean="0"/>
              <a:t>11 May 2024</a:t>
            </a:fld>
            <a:endParaRPr lang="en-IN"/>
          </a:p>
        </p:txBody>
      </p:sp>
      <p:sp>
        <p:nvSpPr>
          <p:cNvPr id="4" name="Slide Number Placeholder 3">
            <a:extLst>
              <a:ext uri="{FF2B5EF4-FFF2-40B4-BE49-F238E27FC236}">
                <a16:creationId xmlns:a16="http://schemas.microsoft.com/office/drawing/2014/main" id="{E3D41F4A-BC50-824B-62DE-DC9C9FAD4604}"/>
              </a:ext>
            </a:extLst>
          </p:cNvPr>
          <p:cNvSpPr>
            <a:spLocks noGrp="1"/>
          </p:cNvSpPr>
          <p:nvPr>
            <p:ph type="sldNum" sz="quarter" idx="11"/>
          </p:nvPr>
        </p:nvSpPr>
        <p:spPr/>
        <p:txBody>
          <a:bodyPr/>
          <a:lstStyle/>
          <a:p>
            <a:r>
              <a:rPr lang="en-GB"/>
              <a:t>Page </a:t>
            </a:r>
            <a:fld id="{F1BC30E3-FFE5-4B91-AA19-87A149EBB9EE}" type="slidenum">
              <a:rPr smtClean="0"/>
              <a:t>‹#›</a:t>
            </a:fld>
            <a:endParaRPr/>
          </a:p>
        </p:txBody>
      </p:sp>
      <p:cxnSp>
        <p:nvCxnSpPr>
          <p:cNvPr id="5" name="Straight Connector 4">
            <a:extLst>
              <a:ext uri="{FF2B5EF4-FFF2-40B4-BE49-F238E27FC236}">
                <a16:creationId xmlns:a16="http://schemas.microsoft.com/office/drawing/2014/main" id="{E940FEF5-402B-82C6-CE4E-C8D67FF85B11}"/>
              </a:ext>
            </a:extLst>
          </p:cNvPr>
          <p:cNvCxnSpPr/>
          <p:nvPr userDrawn="1"/>
        </p:nvCxnSpPr>
        <p:spPr>
          <a:xfrm>
            <a:off x="609601" y="885080"/>
            <a:ext cx="10972800" cy="0"/>
          </a:xfrm>
          <a:prstGeom prst="line">
            <a:avLst/>
          </a:prstGeom>
          <a:ln w="9525">
            <a:solidFill>
              <a:srgbClr val="FFE700"/>
            </a:solidFill>
            <a:tailEnd type="none"/>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7BCA803-ADBC-6B05-A378-8F91D8A5DC9B}"/>
              </a:ext>
            </a:extLst>
          </p:cNvPr>
          <p:cNvSpPr/>
          <p:nvPr userDrawn="1"/>
        </p:nvSpPr>
        <p:spPr>
          <a:xfrm>
            <a:off x="755374" y="2047463"/>
            <a:ext cx="3518452" cy="3280596"/>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s-ES_tradnl" sz="1200" dirty="0" err="1">
                <a:solidFill>
                  <a:schemeClr val="tx1"/>
                </a:solidFill>
              </a:rPr>
              <a:t>Image</a:t>
            </a:r>
            <a:endParaRPr lang="en-US" sz="1200" dirty="0">
              <a:solidFill>
                <a:schemeClr val="tx1"/>
              </a:solidFill>
            </a:endParaRPr>
          </a:p>
        </p:txBody>
      </p:sp>
    </p:spTree>
    <p:extLst>
      <p:ext uri="{BB962C8B-B14F-4D97-AF65-F5344CB8AC3E}">
        <p14:creationId xmlns:p14="http://schemas.microsoft.com/office/powerpoint/2010/main" val="645369987"/>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ictures &amp;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D2D85-985F-A131-0FBA-7E89F920B48F}"/>
              </a:ext>
            </a:extLst>
          </p:cNvPr>
          <p:cNvSpPr>
            <a:spLocks noGrp="1"/>
          </p:cNvSpPr>
          <p:nvPr>
            <p:ph type="title" hasCustomPrompt="1"/>
          </p:nvPr>
        </p:nvSpPr>
        <p:spPr/>
        <p:txBody>
          <a:bodyPr/>
          <a:lstStyle/>
          <a:p>
            <a:r>
              <a:rPr lang="en-US" dirty="0"/>
              <a:t>Slide title</a:t>
            </a:r>
          </a:p>
        </p:txBody>
      </p:sp>
      <p:sp>
        <p:nvSpPr>
          <p:cNvPr id="3" name="Date Placeholder 2">
            <a:extLst>
              <a:ext uri="{FF2B5EF4-FFF2-40B4-BE49-F238E27FC236}">
                <a16:creationId xmlns:a16="http://schemas.microsoft.com/office/drawing/2014/main" id="{DB382A53-87A0-442A-AFFD-EFB12A027E49}"/>
              </a:ext>
            </a:extLst>
          </p:cNvPr>
          <p:cNvSpPr>
            <a:spLocks noGrp="1"/>
          </p:cNvSpPr>
          <p:nvPr>
            <p:ph type="dt" sz="half" idx="10"/>
          </p:nvPr>
        </p:nvSpPr>
        <p:spPr/>
        <p:txBody>
          <a:bodyPr/>
          <a:lstStyle/>
          <a:p>
            <a:fld id="{346FB509-72B8-4D66-9CFD-CC653311849F}" type="datetime3">
              <a:rPr lang="en-US" smtClean="0"/>
              <a:t>11 May 2024</a:t>
            </a:fld>
            <a:endParaRPr lang="en-IN"/>
          </a:p>
        </p:txBody>
      </p:sp>
      <p:sp>
        <p:nvSpPr>
          <p:cNvPr id="5" name="Slide Number Placeholder 4">
            <a:extLst>
              <a:ext uri="{FF2B5EF4-FFF2-40B4-BE49-F238E27FC236}">
                <a16:creationId xmlns:a16="http://schemas.microsoft.com/office/drawing/2014/main" id="{DB334649-C8EB-F3E6-E867-EA6DEA8CED51}"/>
              </a:ext>
            </a:extLst>
          </p:cNvPr>
          <p:cNvSpPr>
            <a:spLocks noGrp="1"/>
          </p:cNvSpPr>
          <p:nvPr>
            <p:ph type="sldNum" sz="quarter" idx="12"/>
          </p:nvPr>
        </p:nvSpPr>
        <p:spPr/>
        <p:txBody>
          <a:bodyPr/>
          <a:lstStyle/>
          <a:p>
            <a:r>
              <a:rPr lang="en-GB"/>
              <a:t>Page </a:t>
            </a:r>
            <a:fld id="{F1BC30E3-FFE5-4B91-AA19-87A149EBB9EE}" type="slidenum">
              <a:rPr smtClean="0"/>
              <a:t>‹#›</a:t>
            </a:fld>
            <a:endParaRPr/>
          </a:p>
        </p:txBody>
      </p:sp>
      <p:sp>
        <p:nvSpPr>
          <p:cNvPr id="7" name="Picture Placeholder 6">
            <a:extLst>
              <a:ext uri="{FF2B5EF4-FFF2-40B4-BE49-F238E27FC236}">
                <a16:creationId xmlns:a16="http://schemas.microsoft.com/office/drawing/2014/main" id="{374B9150-8254-C22E-43BF-1D9B53B287CC}"/>
              </a:ext>
            </a:extLst>
          </p:cNvPr>
          <p:cNvSpPr>
            <a:spLocks noGrp="1"/>
          </p:cNvSpPr>
          <p:nvPr>
            <p:ph type="pic" sz="quarter" idx="13"/>
          </p:nvPr>
        </p:nvSpPr>
        <p:spPr>
          <a:xfrm>
            <a:off x="624872" y="1112658"/>
            <a:ext cx="2610241" cy="1719072"/>
          </a:xfrm>
        </p:spPr>
        <p:txBody>
          <a:bodyPr/>
          <a:lstStyle/>
          <a:p>
            <a:endParaRPr lang="en-US"/>
          </a:p>
        </p:txBody>
      </p:sp>
      <p:sp>
        <p:nvSpPr>
          <p:cNvPr id="8" name="Picture Placeholder 6">
            <a:extLst>
              <a:ext uri="{FF2B5EF4-FFF2-40B4-BE49-F238E27FC236}">
                <a16:creationId xmlns:a16="http://schemas.microsoft.com/office/drawing/2014/main" id="{6A0A153A-26E7-3ABF-D180-E65CE0E0F72D}"/>
              </a:ext>
            </a:extLst>
          </p:cNvPr>
          <p:cNvSpPr>
            <a:spLocks noGrp="1"/>
          </p:cNvSpPr>
          <p:nvPr>
            <p:ph type="pic" sz="quarter" idx="14"/>
          </p:nvPr>
        </p:nvSpPr>
        <p:spPr>
          <a:xfrm>
            <a:off x="3406284" y="1112658"/>
            <a:ext cx="2610241" cy="1719072"/>
          </a:xfrm>
        </p:spPr>
        <p:txBody>
          <a:bodyPr/>
          <a:lstStyle/>
          <a:p>
            <a:endParaRPr lang="en-US"/>
          </a:p>
        </p:txBody>
      </p:sp>
      <p:sp>
        <p:nvSpPr>
          <p:cNvPr id="9" name="Picture Placeholder 6">
            <a:extLst>
              <a:ext uri="{FF2B5EF4-FFF2-40B4-BE49-F238E27FC236}">
                <a16:creationId xmlns:a16="http://schemas.microsoft.com/office/drawing/2014/main" id="{03DB2406-836D-35AA-18B8-EFBC5CDFC06D}"/>
              </a:ext>
            </a:extLst>
          </p:cNvPr>
          <p:cNvSpPr>
            <a:spLocks noGrp="1"/>
          </p:cNvSpPr>
          <p:nvPr>
            <p:ph type="pic" sz="quarter" idx="15"/>
          </p:nvPr>
        </p:nvSpPr>
        <p:spPr>
          <a:xfrm>
            <a:off x="6181696" y="1112658"/>
            <a:ext cx="2610241" cy="1719072"/>
          </a:xfrm>
        </p:spPr>
        <p:txBody>
          <a:bodyPr/>
          <a:lstStyle/>
          <a:p>
            <a:endParaRPr lang="en-US"/>
          </a:p>
        </p:txBody>
      </p:sp>
      <p:sp>
        <p:nvSpPr>
          <p:cNvPr id="10" name="Picture Placeholder 6">
            <a:extLst>
              <a:ext uri="{FF2B5EF4-FFF2-40B4-BE49-F238E27FC236}">
                <a16:creationId xmlns:a16="http://schemas.microsoft.com/office/drawing/2014/main" id="{8BEEF1EB-F249-A239-1704-09EAD26CF7A2}"/>
              </a:ext>
            </a:extLst>
          </p:cNvPr>
          <p:cNvSpPr>
            <a:spLocks noGrp="1"/>
          </p:cNvSpPr>
          <p:nvPr>
            <p:ph type="pic" sz="quarter" idx="16"/>
          </p:nvPr>
        </p:nvSpPr>
        <p:spPr>
          <a:xfrm>
            <a:off x="8972159" y="1112658"/>
            <a:ext cx="2610241" cy="1719072"/>
          </a:xfrm>
        </p:spPr>
        <p:txBody>
          <a:bodyPr/>
          <a:lstStyle/>
          <a:p>
            <a:endParaRPr lang="en-US"/>
          </a:p>
        </p:txBody>
      </p:sp>
      <p:sp>
        <p:nvSpPr>
          <p:cNvPr id="12" name="Text Placeholder 11">
            <a:extLst>
              <a:ext uri="{FF2B5EF4-FFF2-40B4-BE49-F238E27FC236}">
                <a16:creationId xmlns:a16="http://schemas.microsoft.com/office/drawing/2014/main" id="{19A7E3FB-9337-C735-B392-D605D0B3DFC8}"/>
              </a:ext>
            </a:extLst>
          </p:cNvPr>
          <p:cNvSpPr>
            <a:spLocks noGrp="1"/>
          </p:cNvSpPr>
          <p:nvPr>
            <p:ph type="body" sz="quarter" idx="17" hasCustomPrompt="1"/>
          </p:nvPr>
        </p:nvSpPr>
        <p:spPr>
          <a:xfrm>
            <a:off x="622400" y="3174821"/>
            <a:ext cx="2615184" cy="369888"/>
          </a:xfrm>
        </p:spPr>
        <p:txBody>
          <a:bodyPr anchor="ctr"/>
          <a:lstStyle>
            <a:lvl1pPr marL="0" indent="0" algn="ctr">
              <a:buNone/>
              <a:defRPr sz="1400">
                <a:solidFill>
                  <a:srgbClr val="FFE700"/>
                </a:solidFill>
              </a:defRPr>
            </a:lvl1pPr>
          </a:lstStyle>
          <a:p>
            <a:pPr lvl="0"/>
            <a:r>
              <a:rPr lang="en-US"/>
              <a:t>SUBTITLE</a:t>
            </a:r>
          </a:p>
        </p:txBody>
      </p:sp>
      <p:sp>
        <p:nvSpPr>
          <p:cNvPr id="13" name="Text Placeholder 11">
            <a:extLst>
              <a:ext uri="{FF2B5EF4-FFF2-40B4-BE49-F238E27FC236}">
                <a16:creationId xmlns:a16="http://schemas.microsoft.com/office/drawing/2014/main" id="{93A28777-FBDA-86C3-69F9-3536BD76BEC3}"/>
              </a:ext>
            </a:extLst>
          </p:cNvPr>
          <p:cNvSpPr>
            <a:spLocks noGrp="1"/>
          </p:cNvSpPr>
          <p:nvPr>
            <p:ph type="body" sz="quarter" idx="18" hasCustomPrompt="1"/>
          </p:nvPr>
        </p:nvSpPr>
        <p:spPr>
          <a:xfrm>
            <a:off x="3403812" y="3174821"/>
            <a:ext cx="2615184" cy="369888"/>
          </a:xfrm>
        </p:spPr>
        <p:txBody>
          <a:bodyPr anchor="ctr"/>
          <a:lstStyle>
            <a:lvl1pPr marL="0" indent="0" algn="ctr">
              <a:buNone/>
              <a:defRPr sz="1400">
                <a:solidFill>
                  <a:srgbClr val="FFE700"/>
                </a:solidFill>
              </a:defRPr>
            </a:lvl1pPr>
          </a:lstStyle>
          <a:p>
            <a:pPr lvl="0"/>
            <a:r>
              <a:rPr lang="en-US"/>
              <a:t>SUBTITLE</a:t>
            </a:r>
          </a:p>
        </p:txBody>
      </p:sp>
      <p:sp>
        <p:nvSpPr>
          <p:cNvPr id="14" name="Text Placeholder 11">
            <a:extLst>
              <a:ext uri="{FF2B5EF4-FFF2-40B4-BE49-F238E27FC236}">
                <a16:creationId xmlns:a16="http://schemas.microsoft.com/office/drawing/2014/main" id="{FDA99A0F-8A45-8E79-083C-29A103111FD3}"/>
              </a:ext>
            </a:extLst>
          </p:cNvPr>
          <p:cNvSpPr>
            <a:spLocks noGrp="1"/>
          </p:cNvSpPr>
          <p:nvPr>
            <p:ph type="body" sz="quarter" idx="19" hasCustomPrompt="1"/>
          </p:nvPr>
        </p:nvSpPr>
        <p:spPr>
          <a:xfrm>
            <a:off x="6179224" y="3174821"/>
            <a:ext cx="2615184" cy="369888"/>
          </a:xfrm>
        </p:spPr>
        <p:txBody>
          <a:bodyPr anchor="ctr"/>
          <a:lstStyle>
            <a:lvl1pPr marL="0" indent="0" algn="ctr">
              <a:buNone/>
              <a:defRPr sz="1400">
                <a:solidFill>
                  <a:srgbClr val="FFE700"/>
                </a:solidFill>
              </a:defRPr>
            </a:lvl1pPr>
          </a:lstStyle>
          <a:p>
            <a:pPr lvl="0"/>
            <a:r>
              <a:rPr lang="en-US"/>
              <a:t>SUBTITLE</a:t>
            </a:r>
          </a:p>
        </p:txBody>
      </p:sp>
      <p:sp>
        <p:nvSpPr>
          <p:cNvPr id="15" name="Text Placeholder 11">
            <a:extLst>
              <a:ext uri="{FF2B5EF4-FFF2-40B4-BE49-F238E27FC236}">
                <a16:creationId xmlns:a16="http://schemas.microsoft.com/office/drawing/2014/main" id="{E1AE8F23-FC55-24BA-10D5-1F5D55E0DF33}"/>
              </a:ext>
            </a:extLst>
          </p:cNvPr>
          <p:cNvSpPr>
            <a:spLocks noGrp="1"/>
          </p:cNvSpPr>
          <p:nvPr>
            <p:ph type="body" sz="quarter" idx="20" hasCustomPrompt="1"/>
          </p:nvPr>
        </p:nvSpPr>
        <p:spPr>
          <a:xfrm>
            <a:off x="8967216" y="3174821"/>
            <a:ext cx="2615184" cy="369888"/>
          </a:xfrm>
        </p:spPr>
        <p:txBody>
          <a:bodyPr anchor="ctr"/>
          <a:lstStyle>
            <a:lvl1pPr marL="0" indent="0" algn="ctr">
              <a:buNone/>
              <a:defRPr sz="1400">
                <a:solidFill>
                  <a:srgbClr val="FFE700"/>
                </a:solidFill>
              </a:defRPr>
            </a:lvl1pPr>
          </a:lstStyle>
          <a:p>
            <a:pPr lvl="0"/>
            <a:r>
              <a:rPr lang="en-US"/>
              <a:t>SUBTITLE</a:t>
            </a:r>
          </a:p>
        </p:txBody>
      </p:sp>
      <p:sp>
        <p:nvSpPr>
          <p:cNvPr id="16" name="Text Placeholder 11">
            <a:extLst>
              <a:ext uri="{FF2B5EF4-FFF2-40B4-BE49-F238E27FC236}">
                <a16:creationId xmlns:a16="http://schemas.microsoft.com/office/drawing/2014/main" id="{E9E74CC8-697E-6A0F-4041-6CC8916A4B3C}"/>
              </a:ext>
            </a:extLst>
          </p:cNvPr>
          <p:cNvSpPr>
            <a:spLocks noGrp="1"/>
          </p:cNvSpPr>
          <p:nvPr>
            <p:ph type="body" sz="quarter" idx="21" hasCustomPrompt="1"/>
          </p:nvPr>
        </p:nvSpPr>
        <p:spPr>
          <a:xfrm>
            <a:off x="622400" y="3663962"/>
            <a:ext cx="2615184" cy="2219253"/>
          </a:xfrm>
        </p:spPr>
        <p:txBody>
          <a:bodyPr anchor="t"/>
          <a:lstStyle>
            <a:lvl1pPr marL="285750" indent="-285750" algn="l">
              <a:buFont typeface="Arial" pitchFamily="34" charset="0"/>
              <a:buChar char="•"/>
              <a:defRPr sz="1200"/>
            </a:lvl1pPr>
          </a:lstStyle>
          <a:p>
            <a:pPr lvl="0"/>
            <a:r>
              <a:rPr lang="en-US"/>
              <a:t>Text</a:t>
            </a:r>
          </a:p>
        </p:txBody>
      </p:sp>
      <p:sp>
        <p:nvSpPr>
          <p:cNvPr id="17" name="Text Placeholder 11">
            <a:extLst>
              <a:ext uri="{FF2B5EF4-FFF2-40B4-BE49-F238E27FC236}">
                <a16:creationId xmlns:a16="http://schemas.microsoft.com/office/drawing/2014/main" id="{E99DC85A-0E1D-D0C8-0FF6-E39A80EE0351}"/>
              </a:ext>
            </a:extLst>
          </p:cNvPr>
          <p:cNvSpPr>
            <a:spLocks noGrp="1"/>
          </p:cNvSpPr>
          <p:nvPr>
            <p:ph type="body" sz="quarter" idx="22" hasCustomPrompt="1"/>
          </p:nvPr>
        </p:nvSpPr>
        <p:spPr>
          <a:xfrm>
            <a:off x="3403812" y="3663961"/>
            <a:ext cx="2615184" cy="2219253"/>
          </a:xfrm>
        </p:spPr>
        <p:txBody>
          <a:bodyPr anchor="t"/>
          <a:lstStyle>
            <a:lvl1pPr marL="285750" indent="-285750" algn="l">
              <a:buFont typeface="Arial" pitchFamily="34" charset="0"/>
              <a:buChar char="•"/>
              <a:defRPr sz="1200"/>
            </a:lvl1pPr>
          </a:lstStyle>
          <a:p>
            <a:pPr lvl="0"/>
            <a:r>
              <a:rPr lang="en-US"/>
              <a:t>Text</a:t>
            </a:r>
          </a:p>
        </p:txBody>
      </p:sp>
      <p:sp>
        <p:nvSpPr>
          <p:cNvPr id="18" name="Text Placeholder 11">
            <a:extLst>
              <a:ext uri="{FF2B5EF4-FFF2-40B4-BE49-F238E27FC236}">
                <a16:creationId xmlns:a16="http://schemas.microsoft.com/office/drawing/2014/main" id="{C6FC2045-A5CD-48F4-83E9-7ECD52C2C309}"/>
              </a:ext>
            </a:extLst>
          </p:cNvPr>
          <p:cNvSpPr>
            <a:spLocks noGrp="1"/>
          </p:cNvSpPr>
          <p:nvPr>
            <p:ph type="body" sz="quarter" idx="23" hasCustomPrompt="1"/>
          </p:nvPr>
        </p:nvSpPr>
        <p:spPr>
          <a:xfrm>
            <a:off x="6179224" y="3663962"/>
            <a:ext cx="2615184" cy="2219253"/>
          </a:xfrm>
        </p:spPr>
        <p:txBody>
          <a:bodyPr anchor="t"/>
          <a:lstStyle>
            <a:lvl1pPr marL="285750" indent="-285750" algn="l">
              <a:buFont typeface="Arial" pitchFamily="34" charset="0"/>
              <a:buChar char="•"/>
              <a:defRPr sz="1200"/>
            </a:lvl1pPr>
          </a:lstStyle>
          <a:p>
            <a:pPr lvl="0"/>
            <a:r>
              <a:rPr lang="en-US"/>
              <a:t>Text</a:t>
            </a:r>
          </a:p>
        </p:txBody>
      </p:sp>
      <p:sp>
        <p:nvSpPr>
          <p:cNvPr id="19" name="Text Placeholder 11">
            <a:extLst>
              <a:ext uri="{FF2B5EF4-FFF2-40B4-BE49-F238E27FC236}">
                <a16:creationId xmlns:a16="http://schemas.microsoft.com/office/drawing/2014/main" id="{D8D7B486-B4A9-E0CD-6A64-9EDADF9FA330}"/>
              </a:ext>
            </a:extLst>
          </p:cNvPr>
          <p:cNvSpPr>
            <a:spLocks noGrp="1"/>
          </p:cNvSpPr>
          <p:nvPr>
            <p:ph type="body" sz="quarter" idx="24" hasCustomPrompt="1"/>
          </p:nvPr>
        </p:nvSpPr>
        <p:spPr>
          <a:xfrm>
            <a:off x="8967216" y="3663961"/>
            <a:ext cx="2615184" cy="2219253"/>
          </a:xfrm>
        </p:spPr>
        <p:txBody>
          <a:bodyPr anchor="t"/>
          <a:lstStyle>
            <a:lvl1pPr marL="285750" indent="-285750" algn="l">
              <a:buFont typeface="Arial" pitchFamily="34" charset="0"/>
              <a:buChar char="•"/>
              <a:defRPr sz="1200"/>
            </a:lvl1pPr>
          </a:lstStyle>
          <a:p>
            <a:pPr lvl="0"/>
            <a:r>
              <a:rPr lang="en-US"/>
              <a:t>Text</a:t>
            </a:r>
          </a:p>
        </p:txBody>
      </p:sp>
      <p:cxnSp>
        <p:nvCxnSpPr>
          <p:cNvPr id="6" name="Straight Connector 5">
            <a:extLst>
              <a:ext uri="{FF2B5EF4-FFF2-40B4-BE49-F238E27FC236}">
                <a16:creationId xmlns:a16="http://schemas.microsoft.com/office/drawing/2014/main" id="{43AF7A8F-2A95-3CDD-660C-E2B0A914FD12}"/>
              </a:ext>
            </a:extLst>
          </p:cNvPr>
          <p:cNvCxnSpPr/>
          <p:nvPr userDrawn="1"/>
        </p:nvCxnSpPr>
        <p:spPr>
          <a:xfrm>
            <a:off x="609601" y="885080"/>
            <a:ext cx="10972800" cy="0"/>
          </a:xfrm>
          <a:prstGeom prst="line">
            <a:avLst/>
          </a:prstGeom>
          <a:ln w="9525">
            <a:solidFill>
              <a:srgbClr val="FFE7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5122940"/>
      </p:ext>
    </p:extLst>
  </p:cSld>
  <p:clrMapOvr>
    <a:masterClrMapping/>
  </p:clrMapOvr>
  <p:transition/>
  <p:extLst>
    <p:ext uri="{DCECCB84-F9BA-43D5-87BE-67443E8EF086}">
      <p15:sldGuideLst xmlns:p15="http://schemas.microsoft.com/office/powerpoint/2012/main">
        <p15:guide id="2" pos="384" userDrawn="1">
          <p15:clr>
            <a:srgbClr val="FBAE40"/>
          </p15:clr>
        </p15:guide>
        <p15:guide id="3" pos="7296" userDrawn="1">
          <p15:clr>
            <a:srgbClr val="FBAE40"/>
          </p15:clr>
        </p15:guide>
        <p15:guide id="4" orient="horz" pos="696"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EEAE0-2936-DE08-3200-FC1CBFA6CB0F}"/>
              </a:ext>
            </a:extLst>
          </p:cNvPr>
          <p:cNvSpPr>
            <a:spLocks noGrp="1"/>
          </p:cNvSpPr>
          <p:nvPr>
            <p:ph type="title" hasCustomPrompt="1"/>
          </p:nvPr>
        </p:nvSpPr>
        <p:spPr/>
        <p:txBody>
          <a:bodyPr/>
          <a:lstStyle/>
          <a:p>
            <a:r>
              <a:rPr lang="en-US"/>
              <a:t>Slide title</a:t>
            </a:r>
          </a:p>
        </p:txBody>
      </p:sp>
      <p:sp>
        <p:nvSpPr>
          <p:cNvPr id="3" name="Date Placeholder 2">
            <a:extLst>
              <a:ext uri="{FF2B5EF4-FFF2-40B4-BE49-F238E27FC236}">
                <a16:creationId xmlns:a16="http://schemas.microsoft.com/office/drawing/2014/main" id="{2B4C1EC1-F561-C17E-5312-A145AB9C99A2}"/>
              </a:ext>
            </a:extLst>
          </p:cNvPr>
          <p:cNvSpPr>
            <a:spLocks noGrp="1"/>
          </p:cNvSpPr>
          <p:nvPr>
            <p:ph type="dt" sz="half" idx="10"/>
          </p:nvPr>
        </p:nvSpPr>
        <p:spPr/>
        <p:txBody>
          <a:bodyPr/>
          <a:lstStyle/>
          <a:p>
            <a:fld id="{1EB5E389-A2D5-42C9-92E6-C9810C5E0583}" type="datetime3">
              <a:rPr lang="en-US" smtClean="0"/>
              <a:t>11 May 2024</a:t>
            </a:fld>
            <a:endParaRPr lang="en-IN"/>
          </a:p>
        </p:txBody>
      </p:sp>
      <p:sp>
        <p:nvSpPr>
          <p:cNvPr id="5" name="Slide Number Placeholder 4">
            <a:extLst>
              <a:ext uri="{FF2B5EF4-FFF2-40B4-BE49-F238E27FC236}">
                <a16:creationId xmlns:a16="http://schemas.microsoft.com/office/drawing/2014/main" id="{96495C4C-6139-310C-2AF3-892016FA99AB}"/>
              </a:ext>
            </a:extLst>
          </p:cNvPr>
          <p:cNvSpPr>
            <a:spLocks noGrp="1"/>
          </p:cNvSpPr>
          <p:nvPr>
            <p:ph type="sldNum" sz="quarter" idx="12"/>
          </p:nvPr>
        </p:nvSpPr>
        <p:spPr/>
        <p:txBody>
          <a:bodyPr/>
          <a:lstStyle/>
          <a:p>
            <a:r>
              <a:rPr lang="en-GB"/>
              <a:t>Page </a:t>
            </a:r>
            <a:fld id="{F1BC30E3-FFE5-4B91-AA19-87A149EBB9EE}" type="slidenum">
              <a:rPr smtClean="0"/>
              <a:t>‹#›</a:t>
            </a:fld>
            <a:endParaRPr/>
          </a:p>
        </p:txBody>
      </p:sp>
      <p:sp>
        <p:nvSpPr>
          <p:cNvPr id="6" name="Text Placeholder 11">
            <a:extLst>
              <a:ext uri="{FF2B5EF4-FFF2-40B4-BE49-F238E27FC236}">
                <a16:creationId xmlns:a16="http://schemas.microsoft.com/office/drawing/2014/main" id="{E59DDB52-8564-BE61-B9B7-DD9EF1FC9E42}"/>
              </a:ext>
            </a:extLst>
          </p:cNvPr>
          <p:cNvSpPr>
            <a:spLocks noGrp="1"/>
          </p:cNvSpPr>
          <p:nvPr>
            <p:ph type="body" sz="quarter" idx="17" hasCustomPrompt="1"/>
          </p:nvPr>
        </p:nvSpPr>
        <p:spPr>
          <a:xfrm>
            <a:off x="616900" y="1113107"/>
            <a:ext cx="3454369" cy="369888"/>
          </a:xfrm>
        </p:spPr>
        <p:txBody>
          <a:bodyPr anchor="ctr"/>
          <a:lstStyle>
            <a:lvl1pPr marL="0" indent="0" algn="ctr">
              <a:buNone/>
              <a:defRPr sz="1400" b="1">
                <a:solidFill>
                  <a:srgbClr val="FFE700"/>
                </a:solidFill>
              </a:defRPr>
            </a:lvl1pPr>
          </a:lstStyle>
          <a:p>
            <a:pPr lvl="0"/>
            <a:r>
              <a:rPr lang="en-US"/>
              <a:t>Subtitle</a:t>
            </a:r>
          </a:p>
        </p:txBody>
      </p:sp>
      <p:sp>
        <p:nvSpPr>
          <p:cNvPr id="7" name="Text Placeholder 11">
            <a:extLst>
              <a:ext uri="{FF2B5EF4-FFF2-40B4-BE49-F238E27FC236}">
                <a16:creationId xmlns:a16="http://schemas.microsoft.com/office/drawing/2014/main" id="{6C8900CE-76E7-EEA5-E034-B67259B2B327}"/>
              </a:ext>
            </a:extLst>
          </p:cNvPr>
          <p:cNvSpPr>
            <a:spLocks noGrp="1"/>
          </p:cNvSpPr>
          <p:nvPr>
            <p:ph type="body" sz="quarter" idx="18" hasCustomPrompt="1"/>
          </p:nvPr>
        </p:nvSpPr>
        <p:spPr>
          <a:xfrm>
            <a:off x="4366967" y="1113107"/>
            <a:ext cx="3454369" cy="369888"/>
          </a:xfrm>
        </p:spPr>
        <p:txBody>
          <a:bodyPr anchor="ctr"/>
          <a:lstStyle>
            <a:lvl1pPr marL="0" indent="0" algn="ctr">
              <a:buNone/>
              <a:defRPr sz="1400" b="1">
                <a:solidFill>
                  <a:srgbClr val="FFE700"/>
                </a:solidFill>
              </a:defRPr>
            </a:lvl1pPr>
          </a:lstStyle>
          <a:p>
            <a:pPr lvl="0"/>
            <a:r>
              <a:rPr lang="en-US"/>
              <a:t>Subtitle</a:t>
            </a:r>
          </a:p>
        </p:txBody>
      </p:sp>
      <p:sp>
        <p:nvSpPr>
          <p:cNvPr id="8" name="Text Placeholder 11">
            <a:extLst>
              <a:ext uri="{FF2B5EF4-FFF2-40B4-BE49-F238E27FC236}">
                <a16:creationId xmlns:a16="http://schemas.microsoft.com/office/drawing/2014/main" id="{88BB3982-4645-CA4B-CEC9-15A9C15C3750}"/>
              </a:ext>
            </a:extLst>
          </p:cNvPr>
          <p:cNvSpPr>
            <a:spLocks noGrp="1"/>
          </p:cNvSpPr>
          <p:nvPr>
            <p:ph type="body" sz="quarter" idx="19" hasCustomPrompt="1"/>
          </p:nvPr>
        </p:nvSpPr>
        <p:spPr>
          <a:xfrm>
            <a:off x="8117033" y="1101431"/>
            <a:ext cx="3454369" cy="369888"/>
          </a:xfrm>
        </p:spPr>
        <p:txBody>
          <a:bodyPr anchor="ctr"/>
          <a:lstStyle>
            <a:lvl1pPr marL="0" indent="0" algn="ctr">
              <a:buNone/>
              <a:defRPr sz="1400" b="1">
                <a:solidFill>
                  <a:srgbClr val="FFE700"/>
                </a:solidFill>
              </a:defRPr>
            </a:lvl1pPr>
          </a:lstStyle>
          <a:p>
            <a:pPr lvl="0"/>
            <a:r>
              <a:rPr lang="en-US"/>
              <a:t>Subtitle</a:t>
            </a:r>
          </a:p>
        </p:txBody>
      </p:sp>
      <p:sp>
        <p:nvSpPr>
          <p:cNvPr id="9" name="Text Placeholder 11">
            <a:extLst>
              <a:ext uri="{FF2B5EF4-FFF2-40B4-BE49-F238E27FC236}">
                <a16:creationId xmlns:a16="http://schemas.microsoft.com/office/drawing/2014/main" id="{C5C230C8-573B-C977-506C-BDC058F097C3}"/>
              </a:ext>
            </a:extLst>
          </p:cNvPr>
          <p:cNvSpPr>
            <a:spLocks noGrp="1"/>
          </p:cNvSpPr>
          <p:nvPr>
            <p:ph type="body" sz="quarter" idx="21" hasCustomPrompt="1"/>
          </p:nvPr>
        </p:nvSpPr>
        <p:spPr>
          <a:xfrm>
            <a:off x="616900" y="1602249"/>
            <a:ext cx="3454369" cy="1529142"/>
          </a:xfrm>
        </p:spPr>
        <p:txBody>
          <a:bodyPr anchor="t"/>
          <a:lstStyle>
            <a:lvl1pPr marL="0" indent="0" algn="l">
              <a:buFont typeface="Arial" pitchFamily="34" charset="0"/>
              <a:buNone/>
              <a:defRPr sz="1200"/>
            </a:lvl1pPr>
          </a:lstStyle>
          <a:p>
            <a:pPr lvl="0"/>
            <a:r>
              <a:rPr lang="en-US"/>
              <a:t>Text</a:t>
            </a:r>
          </a:p>
        </p:txBody>
      </p:sp>
      <p:sp>
        <p:nvSpPr>
          <p:cNvPr id="10" name="Text Placeholder 11">
            <a:extLst>
              <a:ext uri="{FF2B5EF4-FFF2-40B4-BE49-F238E27FC236}">
                <a16:creationId xmlns:a16="http://schemas.microsoft.com/office/drawing/2014/main" id="{C83AE799-7D03-8391-33A7-7DCAA3B7B608}"/>
              </a:ext>
            </a:extLst>
          </p:cNvPr>
          <p:cNvSpPr>
            <a:spLocks noGrp="1"/>
          </p:cNvSpPr>
          <p:nvPr>
            <p:ph type="body" sz="quarter" idx="22" hasCustomPrompt="1"/>
          </p:nvPr>
        </p:nvSpPr>
        <p:spPr>
          <a:xfrm>
            <a:off x="4366967" y="1602248"/>
            <a:ext cx="3454369" cy="1529142"/>
          </a:xfrm>
        </p:spPr>
        <p:txBody>
          <a:bodyPr anchor="t"/>
          <a:lstStyle>
            <a:lvl1pPr marL="0" indent="0" algn="l">
              <a:buFont typeface="Arial" pitchFamily="34" charset="0"/>
              <a:buNone/>
              <a:defRPr sz="1200"/>
            </a:lvl1pPr>
          </a:lstStyle>
          <a:p>
            <a:pPr lvl="0"/>
            <a:r>
              <a:rPr lang="en-US"/>
              <a:t>Text</a:t>
            </a:r>
          </a:p>
        </p:txBody>
      </p:sp>
      <p:sp>
        <p:nvSpPr>
          <p:cNvPr id="11" name="Text Placeholder 11">
            <a:extLst>
              <a:ext uri="{FF2B5EF4-FFF2-40B4-BE49-F238E27FC236}">
                <a16:creationId xmlns:a16="http://schemas.microsoft.com/office/drawing/2014/main" id="{D2A8FF32-E376-F1A0-2533-D204A34609F4}"/>
              </a:ext>
            </a:extLst>
          </p:cNvPr>
          <p:cNvSpPr>
            <a:spLocks noGrp="1"/>
          </p:cNvSpPr>
          <p:nvPr>
            <p:ph type="body" sz="quarter" idx="23" hasCustomPrompt="1"/>
          </p:nvPr>
        </p:nvSpPr>
        <p:spPr>
          <a:xfrm>
            <a:off x="8117033" y="1590573"/>
            <a:ext cx="3454369" cy="1529142"/>
          </a:xfrm>
        </p:spPr>
        <p:txBody>
          <a:bodyPr anchor="t"/>
          <a:lstStyle>
            <a:lvl1pPr marL="0" indent="0" algn="l">
              <a:buFont typeface="Arial" pitchFamily="34" charset="0"/>
              <a:buNone/>
              <a:defRPr sz="1200"/>
            </a:lvl1pPr>
          </a:lstStyle>
          <a:p>
            <a:pPr lvl="0"/>
            <a:r>
              <a:rPr lang="en-US"/>
              <a:t>Text</a:t>
            </a:r>
          </a:p>
        </p:txBody>
      </p:sp>
      <p:sp>
        <p:nvSpPr>
          <p:cNvPr id="12" name="Text Placeholder 11">
            <a:extLst>
              <a:ext uri="{FF2B5EF4-FFF2-40B4-BE49-F238E27FC236}">
                <a16:creationId xmlns:a16="http://schemas.microsoft.com/office/drawing/2014/main" id="{BE6C54C0-F427-E880-0A2E-8DCB6FEA39A3}"/>
              </a:ext>
            </a:extLst>
          </p:cNvPr>
          <p:cNvSpPr>
            <a:spLocks noGrp="1"/>
          </p:cNvSpPr>
          <p:nvPr>
            <p:ph type="body" sz="quarter" idx="25" hasCustomPrompt="1"/>
          </p:nvPr>
        </p:nvSpPr>
        <p:spPr>
          <a:xfrm>
            <a:off x="622399" y="3726608"/>
            <a:ext cx="3454369" cy="1846055"/>
          </a:xfrm>
        </p:spPr>
        <p:txBody>
          <a:bodyPr anchor="t"/>
          <a:lstStyle>
            <a:lvl1pPr marL="171450" indent="-171450" algn="l">
              <a:buFont typeface="Arial" pitchFamily="34" charset="0"/>
              <a:buChar char="•"/>
              <a:defRPr sz="1200"/>
            </a:lvl1pPr>
          </a:lstStyle>
          <a:p>
            <a:pPr lvl="0"/>
            <a:r>
              <a:rPr lang="en-US"/>
              <a:t>Text</a:t>
            </a:r>
          </a:p>
        </p:txBody>
      </p:sp>
      <p:sp>
        <p:nvSpPr>
          <p:cNvPr id="13" name="Text Placeholder 11">
            <a:extLst>
              <a:ext uri="{FF2B5EF4-FFF2-40B4-BE49-F238E27FC236}">
                <a16:creationId xmlns:a16="http://schemas.microsoft.com/office/drawing/2014/main" id="{FB88EBEB-23E1-4C87-99F9-C980069B6511}"/>
              </a:ext>
            </a:extLst>
          </p:cNvPr>
          <p:cNvSpPr>
            <a:spLocks noGrp="1"/>
          </p:cNvSpPr>
          <p:nvPr>
            <p:ph type="body" sz="quarter" idx="26" hasCustomPrompt="1"/>
          </p:nvPr>
        </p:nvSpPr>
        <p:spPr>
          <a:xfrm>
            <a:off x="4372466" y="3726607"/>
            <a:ext cx="3454369" cy="1846055"/>
          </a:xfrm>
        </p:spPr>
        <p:txBody>
          <a:bodyPr anchor="t"/>
          <a:lstStyle>
            <a:lvl1pPr marL="171450" indent="-171450" algn="l">
              <a:buFont typeface="Arial" pitchFamily="34" charset="0"/>
              <a:buChar char="•"/>
              <a:defRPr sz="1200"/>
            </a:lvl1pPr>
          </a:lstStyle>
          <a:p>
            <a:pPr lvl="0"/>
            <a:r>
              <a:rPr lang="en-US"/>
              <a:t>Text</a:t>
            </a:r>
          </a:p>
        </p:txBody>
      </p:sp>
      <p:sp>
        <p:nvSpPr>
          <p:cNvPr id="14" name="Text Placeholder 11">
            <a:extLst>
              <a:ext uri="{FF2B5EF4-FFF2-40B4-BE49-F238E27FC236}">
                <a16:creationId xmlns:a16="http://schemas.microsoft.com/office/drawing/2014/main" id="{80151882-F7EE-5104-0B88-33B585A1C725}"/>
              </a:ext>
            </a:extLst>
          </p:cNvPr>
          <p:cNvSpPr>
            <a:spLocks noGrp="1"/>
          </p:cNvSpPr>
          <p:nvPr>
            <p:ph type="body" sz="quarter" idx="27" hasCustomPrompt="1"/>
          </p:nvPr>
        </p:nvSpPr>
        <p:spPr>
          <a:xfrm>
            <a:off x="8122532" y="3714932"/>
            <a:ext cx="3454369" cy="1846055"/>
          </a:xfrm>
        </p:spPr>
        <p:txBody>
          <a:bodyPr anchor="t"/>
          <a:lstStyle>
            <a:lvl1pPr marL="171450" indent="-171450" algn="l">
              <a:buFont typeface="Arial" pitchFamily="34" charset="0"/>
              <a:buChar char="•"/>
              <a:defRPr sz="1200"/>
            </a:lvl1pPr>
          </a:lstStyle>
          <a:p>
            <a:pPr lvl="0"/>
            <a:r>
              <a:rPr lang="en-US"/>
              <a:t>Text</a:t>
            </a:r>
          </a:p>
        </p:txBody>
      </p:sp>
      <p:cxnSp>
        <p:nvCxnSpPr>
          <p:cNvPr id="15" name="Straight Connector 14">
            <a:extLst>
              <a:ext uri="{FF2B5EF4-FFF2-40B4-BE49-F238E27FC236}">
                <a16:creationId xmlns:a16="http://schemas.microsoft.com/office/drawing/2014/main" id="{60308292-D28A-F09A-2FDD-A4FC53E6F370}"/>
              </a:ext>
            </a:extLst>
          </p:cNvPr>
          <p:cNvCxnSpPr/>
          <p:nvPr userDrawn="1"/>
        </p:nvCxnSpPr>
        <p:spPr>
          <a:xfrm>
            <a:off x="616901" y="3429000"/>
            <a:ext cx="10960000" cy="0"/>
          </a:xfrm>
          <a:prstGeom prst="line">
            <a:avLst/>
          </a:prstGeom>
          <a:ln w="9525">
            <a:solidFill>
              <a:schemeClr val="bg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8BC05B3-1622-6684-D055-79F6DE6BC60A}"/>
              </a:ext>
            </a:extLst>
          </p:cNvPr>
          <p:cNvCxnSpPr/>
          <p:nvPr userDrawn="1"/>
        </p:nvCxnSpPr>
        <p:spPr>
          <a:xfrm>
            <a:off x="609601" y="885080"/>
            <a:ext cx="10972800" cy="0"/>
          </a:xfrm>
          <a:prstGeom prst="line">
            <a:avLst/>
          </a:prstGeom>
          <a:ln w="9525">
            <a:solidFill>
              <a:srgbClr val="FFE7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0276802"/>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D2D85-985F-A131-0FBA-7E89F920B48F}"/>
              </a:ext>
            </a:extLst>
          </p:cNvPr>
          <p:cNvSpPr>
            <a:spLocks noGrp="1"/>
          </p:cNvSpPr>
          <p:nvPr>
            <p:ph type="title" hasCustomPrompt="1"/>
          </p:nvPr>
        </p:nvSpPr>
        <p:spPr/>
        <p:txBody>
          <a:bodyPr/>
          <a:lstStyle/>
          <a:p>
            <a:r>
              <a:rPr lang="en-US"/>
              <a:t>Slide title</a:t>
            </a:r>
          </a:p>
        </p:txBody>
      </p:sp>
      <p:sp>
        <p:nvSpPr>
          <p:cNvPr id="3" name="Date Placeholder 2">
            <a:extLst>
              <a:ext uri="{FF2B5EF4-FFF2-40B4-BE49-F238E27FC236}">
                <a16:creationId xmlns:a16="http://schemas.microsoft.com/office/drawing/2014/main" id="{DB382A53-87A0-442A-AFFD-EFB12A027E49}"/>
              </a:ext>
            </a:extLst>
          </p:cNvPr>
          <p:cNvSpPr>
            <a:spLocks noGrp="1"/>
          </p:cNvSpPr>
          <p:nvPr>
            <p:ph type="dt" sz="half" idx="10"/>
          </p:nvPr>
        </p:nvSpPr>
        <p:spPr/>
        <p:txBody>
          <a:bodyPr/>
          <a:lstStyle/>
          <a:p>
            <a:fld id="{EAC56C8B-F0EE-41BC-9A12-41D5B44AE7F3}" type="datetime3">
              <a:rPr lang="en-US" smtClean="0"/>
              <a:t>11 May 2024</a:t>
            </a:fld>
            <a:endParaRPr lang="en-IN"/>
          </a:p>
        </p:txBody>
      </p:sp>
      <p:sp>
        <p:nvSpPr>
          <p:cNvPr id="5" name="Slide Number Placeholder 4">
            <a:extLst>
              <a:ext uri="{FF2B5EF4-FFF2-40B4-BE49-F238E27FC236}">
                <a16:creationId xmlns:a16="http://schemas.microsoft.com/office/drawing/2014/main" id="{DB334649-C8EB-F3E6-E867-EA6DEA8CED51}"/>
              </a:ext>
            </a:extLst>
          </p:cNvPr>
          <p:cNvSpPr>
            <a:spLocks noGrp="1"/>
          </p:cNvSpPr>
          <p:nvPr>
            <p:ph type="sldNum" sz="quarter" idx="12"/>
          </p:nvPr>
        </p:nvSpPr>
        <p:spPr/>
        <p:txBody>
          <a:bodyPr/>
          <a:lstStyle/>
          <a:p>
            <a:r>
              <a:rPr lang="en-GB"/>
              <a:t>Page </a:t>
            </a:r>
            <a:fld id="{F1BC30E3-FFE5-4B91-AA19-87A149EBB9EE}" type="slidenum">
              <a:rPr smtClean="0"/>
              <a:t>‹#›</a:t>
            </a:fld>
            <a:endParaRPr/>
          </a:p>
        </p:txBody>
      </p:sp>
      <p:sp>
        <p:nvSpPr>
          <p:cNvPr id="12" name="Text Placeholder 11">
            <a:extLst>
              <a:ext uri="{FF2B5EF4-FFF2-40B4-BE49-F238E27FC236}">
                <a16:creationId xmlns:a16="http://schemas.microsoft.com/office/drawing/2014/main" id="{19A7E3FB-9337-C735-B392-D605D0B3DFC8}"/>
              </a:ext>
            </a:extLst>
          </p:cNvPr>
          <p:cNvSpPr>
            <a:spLocks noGrp="1"/>
          </p:cNvSpPr>
          <p:nvPr>
            <p:ph type="body" sz="quarter" idx="17" hasCustomPrompt="1"/>
          </p:nvPr>
        </p:nvSpPr>
        <p:spPr>
          <a:xfrm>
            <a:off x="616901" y="1113107"/>
            <a:ext cx="2615184" cy="369888"/>
          </a:xfrm>
        </p:spPr>
        <p:txBody>
          <a:bodyPr anchor="ctr"/>
          <a:lstStyle>
            <a:lvl1pPr marL="0" indent="0" algn="ctr">
              <a:buNone/>
              <a:defRPr sz="1400" b="1">
                <a:solidFill>
                  <a:schemeClr val="tx2"/>
                </a:solidFill>
              </a:defRPr>
            </a:lvl1pPr>
          </a:lstStyle>
          <a:p>
            <a:pPr lvl="0"/>
            <a:r>
              <a:rPr lang="en-US"/>
              <a:t>Subtitle</a:t>
            </a:r>
          </a:p>
        </p:txBody>
      </p:sp>
      <p:sp>
        <p:nvSpPr>
          <p:cNvPr id="13" name="Text Placeholder 11">
            <a:extLst>
              <a:ext uri="{FF2B5EF4-FFF2-40B4-BE49-F238E27FC236}">
                <a16:creationId xmlns:a16="http://schemas.microsoft.com/office/drawing/2014/main" id="{93A28777-FBDA-86C3-69F9-3536BD76BEC3}"/>
              </a:ext>
            </a:extLst>
          </p:cNvPr>
          <p:cNvSpPr>
            <a:spLocks noGrp="1"/>
          </p:cNvSpPr>
          <p:nvPr>
            <p:ph type="body" sz="quarter" idx="18" hasCustomPrompt="1"/>
          </p:nvPr>
        </p:nvSpPr>
        <p:spPr>
          <a:xfrm>
            <a:off x="3398313" y="1113107"/>
            <a:ext cx="2615184" cy="369888"/>
          </a:xfrm>
        </p:spPr>
        <p:txBody>
          <a:bodyPr anchor="ctr"/>
          <a:lstStyle>
            <a:lvl1pPr marL="0" indent="0" algn="ctr">
              <a:buNone/>
              <a:defRPr sz="1400" b="1">
                <a:solidFill>
                  <a:schemeClr val="tx2"/>
                </a:solidFill>
              </a:defRPr>
            </a:lvl1pPr>
          </a:lstStyle>
          <a:p>
            <a:pPr lvl="0"/>
            <a:r>
              <a:rPr lang="en-US"/>
              <a:t>Subtitle</a:t>
            </a:r>
          </a:p>
        </p:txBody>
      </p:sp>
      <p:sp>
        <p:nvSpPr>
          <p:cNvPr id="14" name="Text Placeholder 11">
            <a:extLst>
              <a:ext uri="{FF2B5EF4-FFF2-40B4-BE49-F238E27FC236}">
                <a16:creationId xmlns:a16="http://schemas.microsoft.com/office/drawing/2014/main" id="{FDA99A0F-8A45-8E79-083C-29A103111FD3}"/>
              </a:ext>
            </a:extLst>
          </p:cNvPr>
          <p:cNvSpPr>
            <a:spLocks noGrp="1"/>
          </p:cNvSpPr>
          <p:nvPr>
            <p:ph type="body" sz="quarter" idx="19" hasCustomPrompt="1"/>
          </p:nvPr>
        </p:nvSpPr>
        <p:spPr>
          <a:xfrm>
            <a:off x="6173725" y="1113107"/>
            <a:ext cx="2615184" cy="369888"/>
          </a:xfrm>
        </p:spPr>
        <p:txBody>
          <a:bodyPr anchor="ctr"/>
          <a:lstStyle>
            <a:lvl1pPr marL="0" indent="0" algn="ctr">
              <a:buNone/>
              <a:defRPr sz="1400" b="1">
                <a:solidFill>
                  <a:schemeClr val="tx2"/>
                </a:solidFill>
              </a:defRPr>
            </a:lvl1pPr>
          </a:lstStyle>
          <a:p>
            <a:pPr lvl="0"/>
            <a:r>
              <a:rPr lang="en-US"/>
              <a:t>Subtitle</a:t>
            </a:r>
          </a:p>
        </p:txBody>
      </p:sp>
      <p:sp>
        <p:nvSpPr>
          <p:cNvPr id="15" name="Text Placeholder 11">
            <a:extLst>
              <a:ext uri="{FF2B5EF4-FFF2-40B4-BE49-F238E27FC236}">
                <a16:creationId xmlns:a16="http://schemas.microsoft.com/office/drawing/2014/main" id="{E1AE8F23-FC55-24BA-10D5-1F5D55E0DF33}"/>
              </a:ext>
            </a:extLst>
          </p:cNvPr>
          <p:cNvSpPr>
            <a:spLocks noGrp="1"/>
          </p:cNvSpPr>
          <p:nvPr>
            <p:ph type="body" sz="quarter" idx="20" hasCustomPrompt="1"/>
          </p:nvPr>
        </p:nvSpPr>
        <p:spPr>
          <a:xfrm>
            <a:off x="8961717" y="1113107"/>
            <a:ext cx="2615184" cy="369888"/>
          </a:xfrm>
        </p:spPr>
        <p:txBody>
          <a:bodyPr anchor="ctr"/>
          <a:lstStyle>
            <a:lvl1pPr marL="0" indent="0" algn="ctr">
              <a:buNone/>
              <a:defRPr sz="1400" b="1">
                <a:solidFill>
                  <a:schemeClr val="tx2"/>
                </a:solidFill>
              </a:defRPr>
            </a:lvl1pPr>
          </a:lstStyle>
          <a:p>
            <a:pPr lvl="0"/>
            <a:r>
              <a:rPr lang="en-US"/>
              <a:t>Subtitle</a:t>
            </a:r>
          </a:p>
        </p:txBody>
      </p:sp>
      <p:sp>
        <p:nvSpPr>
          <p:cNvPr id="16" name="Text Placeholder 11">
            <a:extLst>
              <a:ext uri="{FF2B5EF4-FFF2-40B4-BE49-F238E27FC236}">
                <a16:creationId xmlns:a16="http://schemas.microsoft.com/office/drawing/2014/main" id="{E9E74CC8-697E-6A0F-4041-6CC8916A4B3C}"/>
              </a:ext>
            </a:extLst>
          </p:cNvPr>
          <p:cNvSpPr>
            <a:spLocks noGrp="1"/>
          </p:cNvSpPr>
          <p:nvPr>
            <p:ph type="body" sz="quarter" idx="21" hasCustomPrompt="1"/>
          </p:nvPr>
        </p:nvSpPr>
        <p:spPr>
          <a:xfrm>
            <a:off x="616901" y="1602249"/>
            <a:ext cx="2615184" cy="1529142"/>
          </a:xfrm>
        </p:spPr>
        <p:txBody>
          <a:bodyPr anchor="t"/>
          <a:lstStyle>
            <a:lvl1pPr marL="0" indent="0" algn="l">
              <a:buFont typeface="Arial" pitchFamily="34" charset="0"/>
              <a:buNone/>
              <a:defRPr sz="1200"/>
            </a:lvl1pPr>
          </a:lstStyle>
          <a:p>
            <a:pPr lvl="0"/>
            <a:r>
              <a:rPr lang="en-US"/>
              <a:t>Text</a:t>
            </a:r>
          </a:p>
        </p:txBody>
      </p:sp>
      <p:sp>
        <p:nvSpPr>
          <p:cNvPr id="17" name="Text Placeholder 11">
            <a:extLst>
              <a:ext uri="{FF2B5EF4-FFF2-40B4-BE49-F238E27FC236}">
                <a16:creationId xmlns:a16="http://schemas.microsoft.com/office/drawing/2014/main" id="{E99DC85A-0E1D-D0C8-0FF6-E39A80EE0351}"/>
              </a:ext>
            </a:extLst>
          </p:cNvPr>
          <p:cNvSpPr>
            <a:spLocks noGrp="1"/>
          </p:cNvSpPr>
          <p:nvPr>
            <p:ph type="body" sz="quarter" idx="22" hasCustomPrompt="1"/>
          </p:nvPr>
        </p:nvSpPr>
        <p:spPr>
          <a:xfrm>
            <a:off x="3398313" y="1602248"/>
            <a:ext cx="2615184" cy="1529142"/>
          </a:xfrm>
        </p:spPr>
        <p:txBody>
          <a:bodyPr anchor="t"/>
          <a:lstStyle>
            <a:lvl1pPr marL="0" indent="0" algn="l">
              <a:buFont typeface="Arial" pitchFamily="34" charset="0"/>
              <a:buNone/>
              <a:defRPr sz="1200"/>
            </a:lvl1pPr>
          </a:lstStyle>
          <a:p>
            <a:pPr lvl="0"/>
            <a:r>
              <a:rPr lang="en-US"/>
              <a:t>Text</a:t>
            </a:r>
          </a:p>
        </p:txBody>
      </p:sp>
      <p:sp>
        <p:nvSpPr>
          <p:cNvPr id="18" name="Text Placeholder 11">
            <a:extLst>
              <a:ext uri="{FF2B5EF4-FFF2-40B4-BE49-F238E27FC236}">
                <a16:creationId xmlns:a16="http://schemas.microsoft.com/office/drawing/2014/main" id="{C6FC2045-A5CD-48F4-83E9-7ECD52C2C309}"/>
              </a:ext>
            </a:extLst>
          </p:cNvPr>
          <p:cNvSpPr>
            <a:spLocks noGrp="1"/>
          </p:cNvSpPr>
          <p:nvPr>
            <p:ph type="body" sz="quarter" idx="23" hasCustomPrompt="1"/>
          </p:nvPr>
        </p:nvSpPr>
        <p:spPr>
          <a:xfrm>
            <a:off x="6173725" y="1602249"/>
            <a:ext cx="2615184" cy="1529142"/>
          </a:xfrm>
        </p:spPr>
        <p:txBody>
          <a:bodyPr anchor="t"/>
          <a:lstStyle>
            <a:lvl1pPr marL="0" indent="0" algn="l">
              <a:buFont typeface="Arial" pitchFamily="34" charset="0"/>
              <a:buNone/>
              <a:defRPr sz="1200"/>
            </a:lvl1pPr>
          </a:lstStyle>
          <a:p>
            <a:pPr lvl="0"/>
            <a:r>
              <a:rPr lang="en-US"/>
              <a:t>Text</a:t>
            </a:r>
          </a:p>
        </p:txBody>
      </p:sp>
      <p:sp>
        <p:nvSpPr>
          <p:cNvPr id="19" name="Text Placeholder 11">
            <a:extLst>
              <a:ext uri="{FF2B5EF4-FFF2-40B4-BE49-F238E27FC236}">
                <a16:creationId xmlns:a16="http://schemas.microsoft.com/office/drawing/2014/main" id="{D8D7B486-B4A9-E0CD-6A64-9EDADF9FA330}"/>
              </a:ext>
            </a:extLst>
          </p:cNvPr>
          <p:cNvSpPr>
            <a:spLocks noGrp="1"/>
          </p:cNvSpPr>
          <p:nvPr>
            <p:ph type="body" sz="quarter" idx="24" hasCustomPrompt="1"/>
          </p:nvPr>
        </p:nvSpPr>
        <p:spPr>
          <a:xfrm>
            <a:off x="8961717" y="1602248"/>
            <a:ext cx="2615184" cy="1529142"/>
          </a:xfrm>
        </p:spPr>
        <p:txBody>
          <a:bodyPr anchor="t"/>
          <a:lstStyle>
            <a:lvl1pPr marL="0" indent="0" algn="l">
              <a:buFont typeface="Arial" pitchFamily="34" charset="0"/>
              <a:buNone/>
              <a:defRPr sz="1200"/>
            </a:lvl1pPr>
          </a:lstStyle>
          <a:p>
            <a:pPr lvl="0"/>
            <a:r>
              <a:rPr lang="en-US"/>
              <a:t>Text</a:t>
            </a:r>
          </a:p>
        </p:txBody>
      </p:sp>
      <p:cxnSp>
        <p:nvCxnSpPr>
          <p:cNvPr id="11" name="Straight Connector 10">
            <a:extLst>
              <a:ext uri="{FF2B5EF4-FFF2-40B4-BE49-F238E27FC236}">
                <a16:creationId xmlns:a16="http://schemas.microsoft.com/office/drawing/2014/main" id="{65EEA9A9-A9EA-CEDB-E018-32CEBE0C1DD3}"/>
              </a:ext>
            </a:extLst>
          </p:cNvPr>
          <p:cNvCxnSpPr/>
          <p:nvPr userDrawn="1"/>
        </p:nvCxnSpPr>
        <p:spPr>
          <a:xfrm>
            <a:off x="616901" y="3429000"/>
            <a:ext cx="10960000" cy="0"/>
          </a:xfrm>
          <a:prstGeom prst="line">
            <a:avLst/>
          </a:prstGeom>
          <a:ln w="9525">
            <a:solidFill>
              <a:srgbClr val="FFE700"/>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20" name="Text Placeholder 11">
            <a:extLst>
              <a:ext uri="{FF2B5EF4-FFF2-40B4-BE49-F238E27FC236}">
                <a16:creationId xmlns:a16="http://schemas.microsoft.com/office/drawing/2014/main" id="{F0CCB849-6DB7-023C-C3F2-305B6EF8C86C}"/>
              </a:ext>
            </a:extLst>
          </p:cNvPr>
          <p:cNvSpPr>
            <a:spLocks noGrp="1"/>
          </p:cNvSpPr>
          <p:nvPr>
            <p:ph type="body" sz="quarter" idx="25" hasCustomPrompt="1"/>
          </p:nvPr>
        </p:nvSpPr>
        <p:spPr>
          <a:xfrm>
            <a:off x="622400" y="3726608"/>
            <a:ext cx="2615184" cy="1846055"/>
          </a:xfrm>
        </p:spPr>
        <p:txBody>
          <a:bodyPr anchor="t"/>
          <a:lstStyle>
            <a:lvl1pPr marL="171450" indent="-171450" algn="l">
              <a:buFont typeface="Arial" pitchFamily="34" charset="0"/>
              <a:buChar char="•"/>
              <a:defRPr sz="1200"/>
            </a:lvl1pPr>
          </a:lstStyle>
          <a:p>
            <a:pPr lvl="0"/>
            <a:r>
              <a:rPr lang="en-US"/>
              <a:t>Text</a:t>
            </a:r>
          </a:p>
        </p:txBody>
      </p:sp>
      <p:sp>
        <p:nvSpPr>
          <p:cNvPr id="21" name="Text Placeholder 11">
            <a:extLst>
              <a:ext uri="{FF2B5EF4-FFF2-40B4-BE49-F238E27FC236}">
                <a16:creationId xmlns:a16="http://schemas.microsoft.com/office/drawing/2014/main" id="{0F5B7859-86FF-EEED-ADF9-8177C9743B2A}"/>
              </a:ext>
            </a:extLst>
          </p:cNvPr>
          <p:cNvSpPr>
            <a:spLocks noGrp="1"/>
          </p:cNvSpPr>
          <p:nvPr>
            <p:ph type="body" sz="quarter" idx="26" hasCustomPrompt="1"/>
          </p:nvPr>
        </p:nvSpPr>
        <p:spPr>
          <a:xfrm>
            <a:off x="3403812" y="3726607"/>
            <a:ext cx="2615184" cy="1846055"/>
          </a:xfrm>
        </p:spPr>
        <p:txBody>
          <a:bodyPr anchor="t"/>
          <a:lstStyle>
            <a:lvl1pPr marL="171450" indent="-171450" algn="l">
              <a:buFont typeface="Arial" pitchFamily="34" charset="0"/>
              <a:buChar char="•"/>
              <a:defRPr sz="1200"/>
            </a:lvl1pPr>
          </a:lstStyle>
          <a:p>
            <a:pPr lvl="0"/>
            <a:r>
              <a:rPr lang="en-US"/>
              <a:t>Text</a:t>
            </a:r>
          </a:p>
        </p:txBody>
      </p:sp>
      <p:sp>
        <p:nvSpPr>
          <p:cNvPr id="22" name="Text Placeholder 11">
            <a:extLst>
              <a:ext uri="{FF2B5EF4-FFF2-40B4-BE49-F238E27FC236}">
                <a16:creationId xmlns:a16="http://schemas.microsoft.com/office/drawing/2014/main" id="{B1A44560-6D58-1B0F-47AD-DE7819729821}"/>
              </a:ext>
            </a:extLst>
          </p:cNvPr>
          <p:cNvSpPr>
            <a:spLocks noGrp="1"/>
          </p:cNvSpPr>
          <p:nvPr>
            <p:ph type="body" sz="quarter" idx="27" hasCustomPrompt="1"/>
          </p:nvPr>
        </p:nvSpPr>
        <p:spPr>
          <a:xfrm>
            <a:off x="6179224" y="3726608"/>
            <a:ext cx="2615184" cy="1846055"/>
          </a:xfrm>
        </p:spPr>
        <p:txBody>
          <a:bodyPr anchor="t"/>
          <a:lstStyle>
            <a:lvl1pPr marL="171450" indent="-171450" algn="l">
              <a:buFont typeface="Arial" pitchFamily="34" charset="0"/>
              <a:buChar char="•"/>
              <a:defRPr sz="1200"/>
            </a:lvl1pPr>
          </a:lstStyle>
          <a:p>
            <a:pPr lvl="0"/>
            <a:r>
              <a:rPr lang="en-US"/>
              <a:t>Text</a:t>
            </a:r>
          </a:p>
        </p:txBody>
      </p:sp>
      <p:sp>
        <p:nvSpPr>
          <p:cNvPr id="23" name="Text Placeholder 11">
            <a:extLst>
              <a:ext uri="{FF2B5EF4-FFF2-40B4-BE49-F238E27FC236}">
                <a16:creationId xmlns:a16="http://schemas.microsoft.com/office/drawing/2014/main" id="{44822431-C974-3EB5-557F-AC694F9BB82E}"/>
              </a:ext>
            </a:extLst>
          </p:cNvPr>
          <p:cNvSpPr>
            <a:spLocks noGrp="1"/>
          </p:cNvSpPr>
          <p:nvPr>
            <p:ph type="body" sz="quarter" idx="28" hasCustomPrompt="1"/>
          </p:nvPr>
        </p:nvSpPr>
        <p:spPr>
          <a:xfrm>
            <a:off x="8967216" y="3726607"/>
            <a:ext cx="2615184" cy="1846055"/>
          </a:xfrm>
        </p:spPr>
        <p:txBody>
          <a:bodyPr anchor="t"/>
          <a:lstStyle>
            <a:lvl1pPr marL="171450" indent="-171450" algn="l">
              <a:buFont typeface="Arial" pitchFamily="34" charset="0"/>
              <a:buChar char="•"/>
              <a:defRPr sz="1200"/>
            </a:lvl1pPr>
          </a:lstStyle>
          <a:p>
            <a:pPr lvl="0"/>
            <a:r>
              <a:rPr lang="en-US"/>
              <a:t>Text</a:t>
            </a:r>
          </a:p>
        </p:txBody>
      </p:sp>
      <p:cxnSp>
        <p:nvCxnSpPr>
          <p:cNvPr id="6" name="Straight Connector 5">
            <a:extLst>
              <a:ext uri="{FF2B5EF4-FFF2-40B4-BE49-F238E27FC236}">
                <a16:creationId xmlns:a16="http://schemas.microsoft.com/office/drawing/2014/main" id="{D988CF23-F245-66BD-6710-E427C1559E02}"/>
              </a:ext>
            </a:extLst>
          </p:cNvPr>
          <p:cNvCxnSpPr/>
          <p:nvPr userDrawn="1"/>
        </p:nvCxnSpPr>
        <p:spPr>
          <a:xfrm>
            <a:off x="609601" y="885080"/>
            <a:ext cx="10972800" cy="0"/>
          </a:xfrm>
          <a:prstGeom prst="line">
            <a:avLst/>
          </a:prstGeom>
          <a:ln w="9525">
            <a:solidFill>
              <a:srgbClr val="FFE7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7812609"/>
      </p:ext>
    </p:extLst>
  </p:cSld>
  <p:clrMapOvr>
    <a:masterClrMapping/>
  </p:clrMapOvr>
  <p:transition/>
  <p:extLst>
    <p:ext uri="{DCECCB84-F9BA-43D5-87BE-67443E8EF086}">
      <p15:sldGuideLst xmlns:p15="http://schemas.microsoft.com/office/powerpoint/2012/main">
        <p15:guide id="2" pos="384">
          <p15:clr>
            <a:srgbClr val="FBAE40"/>
          </p15:clr>
        </p15:guide>
        <p15:guide id="3" pos="7296">
          <p15:clr>
            <a:srgbClr val="FBAE40"/>
          </p15:clr>
        </p15:guide>
        <p15:guide id="4" orient="horz" pos="696"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91A43-17CF-F1D2-F8F4-B167BBA2CD52}"/>
              </a:ext>
            </a:extLst>
          </p:cNvPr>
          <p:cNvSpPr>
            <a:spLocks noGrp="1"/>
          </p:cNvSpPr>
          <p:nvPr>
            <p:ph type="title" hasCustomPrompt="1"/>
          </p:nvPr>
        </p:nvSpPr>
        <p:spPr/>
        <p:txBody>
          <a:bodyPr/>
          <a:lstStyle/>
          <a:p>
            <a:r>
              <a:rPr lang="en-US"/>
              <a:t>Slide title</a:t>
            </a:r>
          </a:p>
        </p:txBody>
      </p:sp>
      <p:sp>
        <p:nvSpPr>
          <p:cNvPr id="3" name="Date Placeholder 2">
            <a:extLst>
              <a:ext uri="{FF2B5EF4-FFF2-40B4-BE49-F238E27FC236}">
                <a16:creationId xmlns:a16="http://schemas.microsoft.com/office/drawing/2014/main" id="{22635776-87B2-2770-62CD-AD876B84EB7B}"/>
              </a:ext>
            </a:extLst>
          </p:cNvPr>
          <p:cNvSpPr>
            <a:spLocks noGrp="1"/>
          </p:cNvSpPr>
          <p:nvPr>
            <p:ph type="dt" sz="half" idx="10"/>
          </p:nvPr>
        </p:nvSpPr>
        <p:spPr/>
        <p:txBody>
          <a:bodyPr/>
          <a:lstStyle/>
          <a:p>
            <a:fld id="{3CB7C333-39F9-4235-A398-6737A817E359}" type="datetime3">
              <a:rPr lang="en-US" smtClean="0"/>
              <a:t>11 May 2024</a:t>
            </a:fld>
            <a:endParaRPr lang="en-IN"/>
          </a:p>
        </p:txBody>
      </p:sp>
      <p:sp>
        <p:nvSpPr>
          <p:cNvPr id="5" name="Slide Number Placeholder 4">
            <a:extLst>
              <a:ext uri="{FF2B5EF4-FFF2-40B4-BE49-F238E27FC236}">
                <a16:creationId xmlns:a16="http://schemas.microsoft.com/office/drawing/2014/main" id="{B5BA6DB7-3E60-8418-D879-03F2DFCE2810}"/>
              </a:ext>
            </a:extLst>
          </p:cNvPr>
          <p:cNvSpPr>
            <a:spLocks noGrp="1"/>
          </p:cNvSpPr>
          <p:nvPr>
            <p:ph type="sldNum" sz="quarter" idx="12"/>
          </p:nvPr>
        </p:nvSpPr>
        <p:spPr/>
        <p:txBody>
          <a:bodyPr/>
          <a:lstStyle/>
          <a:p>
            <a:r>
              <a:rPr lang="en-GB"/>
              <a:t>Page </a:t>
            </a:r>
            <a:fld id="{F1BC30E3-FFE5-4B91-AA19-87A149EBB9EE}" type="slidenum">
              <a:rPr smtClean="0"/>
              <a:t>‹#›</a:t>
            </a:fld>
            <a:endParaRPr/>
          </a:p>
        </p:txBody>
      </p:sp>
      <p:sp>
        <p:nvSpPr>
          <p:cNvPr id="9" name="Text Placeholder 8">
            <a:extLst>
              <a:ext uri="{FF2B5EF4-FFF2-40B4-BE49-F238E27FC236}">
                <a16:creationId xmlns:a16="http://schemas.microsoft.com/office/drawing/2014/main" id="{366CFF7B-4935-B356-824E-C1476AA45401}"/>
              </a:ext>
            </a:extLst>
          </p:cNvPr>
          <p:cNvSpPr>
            <a:spLocks noGrp="1"/>
          </p:cNvSpPr>
          <p:nvPr>
            <p:ph type="body" sz="quarter" idx="13"/>
          </p:nvPr>
        </p:nvSpPr>
        <p:spPr>
          <a:xfrm>
            <a:off x="1525664" y="1281207"/>
            <a:ext cx="10056737" cy="726888"/>
          </a:xfrm>
        </p:spPr>
        <p:txBody>
          <a:bodyPr/>
          <a:lstStyle>
            <a:lvl1pPr marL="0" indent="0">
              <a:buNone/>
              <a:defRPr sz="1800"/>
            </a:lvl1pPr>
          </a:lstStyle>
          <a:p>
            <a:pPr lvl="0"/>
            <a:r>
              <a:rPr lang="en-US"/>
              <a:t>Click to edit Master text styles</a:t>
            </a:r>
          </a:p>
        </p:txBody>
      </p:sp>
      <p:cxnSp>
        <p:nvCxnSpPr>
          <p:cNvPr id="11" name="Straight Connector 10">
            <a:extLst>
              <a:ext uri="{FF2B5EF4-FFF2-40B4-BE49-F238E27FC236}">
                <a16:creationId xmlns:a16="http://schemas.microsoft.com/office/drawing/2014/main" id="{D67BFB5F-99ED-5100-4893-FB99651EB424}"/>
              </a:ext>
            </a:extLst>
          </p:cNvPr>
          <p:cNvCxnSpPr/>
          <p:nvPr userDrawn="1"/>
        </p:nvCxnSpPr>
        <p:spPr>
          <a:xfrm flipH="1">
            <a:off x="609600" y="2135581"/>
            <a:ext cx="10972800" cy="0"/>
          </a:xfrm>
          <a:prstGeom prst="line">
            <a:avLst/>
          </a:prstGeom>
          <a:noFill/>
          <a:ln w="12700" cap="flat" cmpd="sng" algn="ctr">
            <a:gradFill flip="none" rotWithShape="1">
              <a:gsLst>
                <a:gs pos="0">
                  <a:srgbClr val="2E2E38"/>
                </a:gs>
                <a:gs pos="50000">
                  <a:srgbClr val="FFE700"/>
                </a:gs>
                <a:gs pos="99000">
                  <a:srgbClr val="2E2E38"/>
                </a:gs>
              </a:gsLst>
              <a:lin ang="0" scaled="1"/>
            </a:gradFill>
            <a:prstDash val="solid"/>
            <a:tailEnd type="none"/>
          </a:ln>
          <a:effectLst/>
        </p:spPr>
      </p:cxnSp>
      <p:sp>
        <p:nvSpPr>
          <p:cNvPr id="14" name="Oval 13">
            <a:extLst>
              <a:ext uri="{FF2B5EF4-FFF2-40B4-BE49-F238E27FC236}">
                <a16:creationId xmlns:a16="http://schemas.microsoft.com/office/drawing/2014/main" id="{CEB48069-C273-ACF1-1B22-18A62C13569F}"/>
              </a:ext>
            </a:extLst>
          </p:cNvPr>
          <p:cNvSpPr/>
          <p:nvPr userDrawn="1"/>
        </p:nvSpPr>
        <p:spPr>
          <a:xfrm>
            <a:off x="609599" y="1281207"/>
            <a:ext cx="727805" cy="727805"/>
          </a:xfrm>
          <a:prstGeom prst="ellipse">
            <a:avLst/>
          </a:prstGeom>
          <a:solidFill>
            <a:srgbClr val="FFE7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a:solidFill>
                  <a:schemeClr val="tx1"/>
                </a:solidFill>
              </a:rPr>
              <a:t>Icon</a:t>
            </a:r>
          </a:p>
        </p:txBody>
      </p:sp>
      <p:sp>
        <p:nvSpPr>
          <p:cNvPr id="17" name="Text Placeholder 8">
            <a:extLst>
              <a:ext uri="{FF2B5EF4-FFF2-40B4-BE49-F238E27FC236}">
                <a16:creationId xmlns:a16="http://schemas.microsoft.com/office/drawing/2014/main" id="{1C524011-C495-760F-674B-8A2BC7F10AF0}"/>
              </a:ext>
            </a:extLst>
          </p:cNvPr>
          <p:cNvSpPr>
            <a:spLocks noGrp="1"/>
          </p:cNvSpPr>
          <p:nvPr>
            <p:ph type="body" sz="quarter" idx="14"/>
          </p:nvPr>
        </p:nvSpPr>
        <p:spPr>
          <a:xfrm>
            <a:off x="1532966" y="2262151"/>
            <a:ext cx="10056737" cy="726888"/>
          </a:xfrm>
        </p:spPr>
        <p:txBody>
          <a:bodyPr/>
          <a:lstStyle>
            <a:lvl1pPr marL="0" indent="0">
              <a:buNone/>
              <a:defRPr sz="1800"/>
            </a:lvl1pPr>
          </a:lstStyle>
          <a:p>
            <a:pPr lvl="0"/>
            <a:r>
              <a:rPr lang="en-US"/>
              <a:t>Click to edit Master text styles</a:t>
            </a:r>
          </a:p>
        </p:txBody>
      </p:sp>
      <p:cxnSp>
        <p:nvCxnSpPr>
          <p:cNvPr id="18" name="Straight Connector 17">
            <a:extLst>
              <a:ext uri="{FF2B5EF4-FFF2-40B4-BE49-F238E27FC236}">
                <a16:creationId xmlns:a16="http://schemas.microsoft.com/office/drawing/2014/main" id="{78839544-7FB8-0A64-4B33-626DAC65D097}"/>
              </a:ext>
            </a:extLst>
          </p:cNvPr>
          <p:cNvCxnSpPr/>
          <p:nvPr userDrawn="1"/>
        </p:nvCxnSpPr>
        <p:spPr>
          <a:xfrm flipH="1">
            <a:off x="616902" y="3116525"/>
            <a:ext cx="10972800" cy="0"/>
          </a:xfrm>
          <a:prstGeom prst="line">
            <a:avLst/>
          </a:prstGeom>
          <a:noFill/>
          <a:ln w="12700" cap="flat" cmpd="sng" algn="ctr">
            <a:gradFill flip="none" rotWithShape="1">
              <a:gsLst>
                <a:gs pos="0">
                  <a:srgbClr val="2E2E38"/>
                </a:gs>
                <a:gs pos="50000">
                  <a:srgbClr val="FFE700"/>
                </a:gs>
                <a:gs pos="99000">
                  <a:srgbClr val="2E2E38"/>
                </a:gs>
              </a:gsLst>
              <a:lin ang="0" scaled="1"/>
            </a:gradFill>
            <a:prstDash val="solid"/>
            <a:tailEnd type="none"/>
          </a:ln>
          <a:effectLst/>
        </p:spPr>
      </p:cxnSp>
      <p:sp>
        <p:nvSpPr>
          <p:cNvPr id="19" name="Oval 18">
            <a:extLst>
              <a:ext uri="{FF2B5EF4-FFF2-40B4-BE49-F238E27FC236}">
                <a16:creationId xmlns:a16="http://schemas.microsoft.com/office/drawing/2014/main" id="{16437205-3D36-D709-6519-0A44790BF6B7}"/>
              </a:ext>
            </a:extLst>
          </p:cNvPr>
          <p:cNvSpPr/>
          <p:nvPr userDrawn="1"/>
        </p:nvSpPr>
        <p:spPr>
          <a:xfrm>
            <a:off x="616901" y="2262151"/>
            <a:ext cx="727805" cy="727805"/>
          </a:xfrm>
          <a:prstGeom prst="ellipse">
            <a:avLst/>
          </a:prstGeom>
          <a:solidFill>
            <a:srgbClr val="FFE7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a:solidFill>
                  <a:schemeClr val="tx1"/>
                </a:solidFill>
              </a:rPr>
              <a:t>Icon</a:t>
            </a:r>
          </a:p>
        </p:txBody>
      </p:sp>
      <p:sp>
        <p:nvSpPr>
          <p:cNvPr id="20" name="Text Placeholder 8">
            <a:extLst>
              <a:ext uri="{FF2B5EF4-FFF2-40B4-BE49-F238E27FC236}">
                <a16:creationId xmlns:a16="http://schemas.microsoft.com/office/drawing/2014/main" id="{855C66CF-7D4C-ECA1-4426-92ED7EBEA9E7}"/>
              </a:ext>
            </a:extLst>
          </p:cNvPr>
          <p:cNvSpPr>
            <a:spLocks noGrp="1"/>
          </p:cNvSpPr>
          <p:nvPr>
            <p:ph type="body" sz="quarter" idx="15"/>
          </p:nvPr>
        </p:nvSpPr>
        <p:spPr>
          <a:xfrm>
            <a:off x="1532966" y="3243095"/>
            <a:ext cx="10056737" cy="726888"/>
          </a:xfrm>
        </p:spPr>
        <p:txBody>
          <a:bodyPr/>
          <a:lstStyle>
            <a:lvl1pPr marL="0" indent="0">
              <a:buNone/>
              <a:defRPr sz="1800"/>
            </a:lvl1pPr>
          </a:lstStyle>
          <a:p>
            <a:pPr lvl="0"/>
            <a:r>
              <a:rPr lang="en-US"/>
              <a:t>Click to edit Master text styles</a:t>
            </a:r>
          </a:p>
        </p:txBody>
      </p:sp>
      <p:cxnSp>
        <p:nvCxnSpPr>
          <p:cNvPr id="21" name="Straight Connector 20">
            <a:extLst>
              <a:ext uri="{FF2B5EF4-FFF2-40B4-BE49-F238E27FC236}">
                <a16:creationId xmlns:a16="http://schemas.microsoft.com/office/drawing/2014/main" id="{A20D205A-098D-6A1A-35B1-E4C42E8468BA}"/>
              </a:ext>
            </a:extLst>
          </p:cNvPr>
          <p:cNvCxnSpPr/>
          <p:nvPr userDrawn="1"/>
        </p:nvCxnSpPr>
        <p:spPr>
          <a:xfrm flipH="1">
            <a:off x="616902" y="4097469"/>
            <a:ext cx="10972800" cy="0"/>
          </a:xfrm>
          <a:prstGeom prst="line">
            <a:avLst/>
          </a:prstGeom>
          <a:noFill/>
          <a:ln w="12700" cap="flat" cmpd="sng" algn="ctr">
            <a:gradFill flip="none" rotWithShape="1">
              <a:gsLst>
                <a:gs pos="0">
                  <a:srgbClr val="2E2E38"/>
                </a:gs>
                <a:gs pos="50000">
                  <a:srgbClr val="FFE700"/>
                </a:gs>
                <a:gs pos="99000">
                  <a:srgbClr val="2E2E38"/>
                </a:gs>
              </a:gsLst>
              <a:lin ang="0" scaled="1"/>
            </a:gradFill>
            <a:prstDash val="solid"/>
            <a:tailEnd type="none"/>
          </a:ln>
          <a:effectLst/>
        </p:spPr>
      </p:cxnSp>
      <p:sp>
        <p:nvSpPr>
          <p:cNvPr id="22" name="Oval 21">
            <a:extLst>
              <a:ext uri="{FF2B5EF4-FFF2-40B4-BE49-F238E27FC236}">
                <a16:creationId xmlns:a16="http://schemas.microsoft.com/office/drawing/2014/main" id="{575E134E-24FC-42C2-541F-AA97AA25F81E}"/>
              </a:ext>
            </a:extLst>
          </p:cNvPr>
          <p:cNvSpPr/>
          <p:nvPr userDrawn="1"/>
        </p:nvSpPr>
        <p:spPr>
          <a:xfrm>
            <a:off x="616901" y="3243095"/>
            <a:ext cx="727805" cy="727805"/>
          </a:xfrm>
          <a:prstGeom prst="ellipse">
            <a:avLst/>
          </a:prstGeom>
          <a:solidFill>
            <a:srgbClr val="FFE7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a:solidFill>
                  <a:schemeClr val="tx1"/>
                </a:solidFill>
              </a:rPr>
              <a:t>Icon</a:t>
            </a:r>
          </a:p>
        </p:txBody>
      </p:sp>
      <p:sp>
        <p:nvSpPr>
          <p:cNvPr id="23" name="Text Placeholder 8">
            <a:extLst>
              <a:ext uri="{FF2B5EF4-FFF2-40B4-BE49-F238E27FC236}">
                <a16:creationId xmlns:a16="http://schemas.microsoft.com/office/drawing/2014/main" id="{C9A6411B-8E31-91F0-CCC8-73E4D2DB6575}"/>
              </a:ext>
            </a:extLst>
          </p:cNvPr>
          <p:cNvSpPr>
            <a:spLocks noGrp="1"/>
          </p:cNvSpPr>
          <p:nvPr>
            <p:ph type="body" sz="quarter" idx="16"/>
          </p:nvPr>
        </p:nvSpPr>
        <p:spPr>
          <a:xfrm>
            <a:off x="1540268" y="4224039"/>
            <a:ext cx="10056737" cy="726888"/>
          </a:xfrm>
        </p:spPr>
        <p:txBody>
          <a:bodyPr/>
          <a:lstStyle>
            <a:lvl1pPr marL="0" indent="0">
              <a:buNone/>
              <a:defRPr sz="1800"/>
            </a:lvl1pPr>
          </a:lstStyle>
          <a:p>
            <a:pPr lvl="0"/>
            <a:r>
              <a:rPr lang="en-US"/>
              <a:t>Click to edit Master text styles</a:t>
            </a:r>
          </a:p>
        </p:txBody>
      </p:sp>
      <p:cxnSp>
        <p:nvCxnSpPr>
          <p:cNvPr id="24" name="Straight Connector 23">
            <a:extLst>
              <a:ext uri="{FF2B5EF4-FFF2-40B4-BE49-F238E27FC236}">
                <a16:creationId xmlns:a16="http://schemas.microsoft.com/office/drawing/2014/main" id="{79A57AD2-157D-5003-8953-F0DADE1D85DD}"/>
              </a:ext>
            </a:extLst>
          </p:cNvPr>
          <p:cNvCxnSpPr/>
          <p:nvPr userDrawn="1"/>
        </p:nvCxnSpPr>
        <p:spPr>
          <a:xfrm flipH="1">
            <a:off x="624204" y="5078413"/>
            <a:ext cx="10972800" cy="0"/>
          </a:xfrm>
          <a:prstGeom prst="line">
            <a:avLst/>
          </a:prstGeom>
          <a:noFill/>
          <a:ln w="12700" cap="flat" cmpd="sng" algn="ctr">
            <a:gradFill flip="none" rotWithShape="1">
              <a:gsLst>
                <a:gs pos="0">
                  <a:srgbClr val="2E2E38"/>
                </a:gs>
                <a:gs pos="50000">
                  <a:srgbClr val="FFE700"/>
                </a:gs>
                <a:gs pos="99000">
                  <a:srgbClr val="2E2E38"/>
                </a:gs>
              </a:gsLst>
              <a:lin ang="0" scaled="1"/>
            </a:gradFill>
            <a:prstDash val="solid"/>
            <a:tailEnd type="none"/>
          </a:ln>
          <a:effectLst/>
        </p:spPr>
      </p:cxnSp>
      <p:sp>
        <p:nvSpPr>
          <p:cNvPr id="25" name="Oval 24">
            <a:extLst>
              <a:ext uri="{FF2B5EF4-FFF2-40B4-BE49-F238E27FC236}">
                <a16:creationId xmlns:a16="http://schemas.microsoft.com/office/drawing/2014/main" id="{C4CF07E0-BAC0-14C7-443D-5C161170AFF3}"/>
              </a:ext>
            </a:extLst>
          </p:cNvPr>
          <p:cNvSpPr/>
          <p:nvPr userDrawn="1"/>
        </p:nvSpPr>
        <p:spPr>
          <a:xfrm>
            <a:off x="624203" y="4224039"/>
            <a:ext cx="727805" cy="727805"/>
          </a:xfrm>
          <a:prstGeom prst="ellipse">
            <a:avLst/>
          </a:prstGeom>
          <a:solidFill>
            <a:srgbClr val="FFE7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a:solidFill>
                  <a:schemeClr val="tx1"/>
                </a:solidFill>
              </a:rPr>
              <a:t>Icon</a:t>
            </a:r>
          </a:p>
        </p:txBody>
      </p:sp>
      <p:sp>
        <p:nvSpPr>
          <p:cNvPr id="26" name="Text Placeholder 8">
            <a:extLst>
              <a:ext uri="{FF2B5EF4-FFF2-40B4-BE49-F238E27FC236}">
                <a16:creationId xmlns:a16="http://schemas.microsoft.com/office/drawing/2014/main" id="{1160121B-6C29-57CD-C994-A9576A4C1810}"/>
              </a:ext>
            </a:extLst>
          </p:cNvPr>
          <p:cNvSpPr>
            <a:spLocks noGrp="1"/>
          </p:cNvSpPr>
          <p:nvPr>
            <p:ph type="body" sz="quarter" idx="17"/>
          </p:nvPr>
        </p:nvSpPr>
        <p:spPr>
          <a:xfrm>
            <a:off x="1532965" y="5204066"/>
            <a:ext cx="10056737" cy="726888"/>
          </a:xfrm>
        </p:spPr>
        <p:txBody>
          <a:bodyPr/>
          <a:lstStyle>
            <a:lvl1pPr marL="0" indent="0">
              <a:buNone/>
              <a:defRPr sz="1800"/>
            </a:lvl1pPr>
          </a:lstStyle>
          <a:p>
            <a:pPr lvl="0"/>
            <a:r>
              <a:rPr lang="en-US"/>
              <a:t>Click to edit Master text styles</a:t>
            </a:r>
          </a:p>
        </p:txBody>
      </p:sp>
      <p:sp>
        <p:nvSpPr>
          <p:cNvPr id="28" name="Oval 27">
            <a:extLst>
              <a:ext uri="{FF2B5EF4-FFF2-40B4-BE49-F238E27FC236}">
                <a16:creationId xmlns:a16="http://schemas.microsoft.com/office/drawing/2014/main" id="{2E8D7760-0277-9968-CDE4-DEA76CC355D0}"/>
              </a:ext>
            </a:extLst>
          </p:cNvPr>
          <p:cNvSpPr/>
          <p:nvPr userDrawn="1"/>
        </p:nvSpPr>
        <p:spPr>
          <a:xfrm>
            <a:off x="616900" y="5204066"/>
            <a:ext cx="727805" cy="727805"/>
          </a:xfrm>
          <a:prstGeom prst="ellipse">
            <a:avLst/>
          </a:prstGeom>
          <a:solidFill>
            <a:srgbClr val="FFE7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a:solidFill>
                  <a:schemeClr val="tx1"/>
                </a:solidFill>
              </a:rPr>
              <a:t>Icon</a:t>
            </a:r>
          </a:p>
        </p:txBody>
      </p:sp>
      <p:cxnSp>
        <p:nvCxnSpPr>
          <p:cNvPr id="6" name="Straight Connector 5">
            <a:extLst>
              <a:ext uri="{FF2B5EF4-FFF2-40B4-BE49-F238E27FC236}">
                <a16:creationId xmlns:a16="http://schemas.microsoft.com/office/drawing/2014/main" id="{A90365E2-0563-F296-AE26-C82468C1F4A4}"/>
              </a:ext>
            </a:extLst>
          </p:cNvPr>
          <p:cNvCxnSpPr/>
          <p:nvPr userDrawn="1"/>
        </p:nvCxnSpPr>
        <p:spPr>
          <a:xfrm>
            <a:off x="609601" y="885080"/>
            <a:ext cx="10972800" cy="0"/>
          </a:xfrm>
          <a:prstGeom prst="line">
            <a:avLst/>
          </a:prstGeom>
          <a:ln w="9525">
            <a:solidFill>
              <a:srgbClr val="FFE7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603716"/>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4B1C4-D467-8C40-166C-D4898DEBD167}"/>
              </a:ext>
            </a:extLst>
          </p:cNvPr>
          <p:cNvSpPr>
            <a:spLocks noGrp="1"/>
          </p:cNvSpPr>
          <p:nvPr>
            <p:ph type="title" hasCustomPrompt="1"/>
          </p:nvPr>
        </p:nvSpPr>
        <p:spPr/>
        <p:txBody>
          <a:bodyPr/>
          <a:lstStyle/>
          <a:p>
            <a:r>
              <a:rPr lang="en-US"/>
              <a:t>Slide title</a:t>
            </a:r>
          </a:p>
        </p:txBody>
      </p:sp>
      <p:sp>
        <p:nvSpPr>
          <p:cNvPr id="3" name="Date Placeholder 2">
            <a:extLst>
              <a:ext uri="{FF2B5EF4-FFF2-40B4-BE49-F238E27FC236}">
                <a16:creationId xmlns:a16="http://schemas.microsoft.com/office/drawing/2014/main" id="{A5469FDF-86F0-3CEB-1B07-744A4E2E8AC8}"/>
              </a:ext>
            </a:extLst>
          </p:cNvPr>
          <p:cNvSpPr>
            <a:spLocks noGrp="1"/>
          </p:cNvSpPr>
          <p:nvPr>
            <p:ph type="dt" sz="half" idx="10"/>
          </p:nvPr>
        </p:nvSpPr>
        <p:spPr/>
        <p:txBody>
          <a:bodyPr/>
          <a:lstStyle/>
          <a:p>
            <a:fld id="{F93BC94E-FA00-4CA7-92D9-F7B11951E852}" type="datetime3">
              <a:rPr lang="en-US" smtClean="0"/>
              <a:t>11 May 2024</a:t>
            </a:fld>
            <a:endParaRPr lang="en-IN"/>
          </a:p>
        </p:txBody>
      </p:sp>
      <p:sp>
        <p:nvSpPr>
          <p:cNvPr id="5" name="Slide Number Placeholder 4">
            <a:extLst>
              <a:ext uri="{FF2B5EF4-FFF2-40B4-BE49-F238E27FC236}">
                <a16:creationId xmlns:a16="http://schemas.microsoft.com/office/drawing/2014/main" id="{9CFF1D22-2D4E-2B93-5DA8-E988ADA53643}"/>
              </a:ext>
            </a:extLst>
          </p:cNvPr>
          <p:cNvSpPr>
            <a:spLocks noGrp="1"/>
          </p:cNvSpPr>
          <p:nvPr>
            <p:ph type="sldNum" sz="quarter" idx="12"/>
          </p:nvPr>
        </p:nvSpPr>
        <p:spPr/>
        <p:txBody>
          <a:bodyPr/>
          <a:lstStyle/>
          <a:p>
            <a:r>
              <a:rPr lang="en-GB"/>
              <a:t>Page </a:t>
            </a:r>
            <a:fld id="{F1BC30E3-FFE5-4B91-AA19-87A149EBB9EE}" type="slidenum">
              <a:rPr smtClean="0"/>
              <a:t>‹#›</a:t>
            </a:fld>
            <a:endParaRPr/>
          </a:p>
        </p:txBody>
      </p:sp>
      <p:sp>
        <p:nvSpPr>
          <p:cNvPr id="6" name="Rounded Rectangle 5">
            <a:extLst>
              <a:ext uri="{FF2B5EF4-FFF2-40B4-BE49-F238E27FC236}">
                <a16:creationId xmlns:a16="http://schemas.microsoft.com/office/drawing/2014/main" id="{E7093F27-FDCB-71D8-34B3-B7210813224C}"/>
              </a:ext>
            </a:extLst>
          </p:cNvPr>
          <p:cNvSpPr/>
          <p:nvPr userDrawn="1"/>
        </p:nvSpPr>
        <p:spPr>
          <a:xfrm>
            <a:off x="609601" y="1831433"/>
            <a:ext cx="5056093" cy="4338918"/>
          </a:xfrm>
          <a:prstGeom prst="roundRect">
            <a:avLst>
              <a:gd name="adj" fmla="val 8609"/>
            </a:avLst>
          </a:prstGeom>
          <a:noFill/>
          <a:ln w="12700">
            <a:solidFill>
              <a:srgbClr val="FFE7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3" name="Text Placeholder 12">
            <a:extLst>
              <a:ext uri="{FF2B5EF4-FFF2-40B4-BE49-F238E27FC236}">
                <a16:creationId xmlns:a16="http://schemas.microsoft.com/office/drawing/2014/main" id="{D4893A99-B060-0271-FDAD-481C4A904F56}"/>
              </a:ext>
            </a:extLst>
          </p:cNvPr>
          <p:cNvSpPr>
            <a:spLocks noGrp="1"/>
          </p:cNvSpPr>
          <p:nvPr>
            <p:ph type="body" sz="quarter" idx="13"/>
          </p:nvPr>
        </p:nvSpPr>
        <p:spPr>
          <a:xfrm>
            <a:off x="941341" y="2163361"/>
            <a:ext cx="4392612" cy="3675063"/>
          </a:xfrm>
          <a:no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2">
            <a:extLst>
              <a:ext uri="{FF2B5EF4-FFF2-40B4-BE49-F238E27FC236}">
                <a16:creationId xmlns:a16="http://schemas.microsoft.com/office/drawing/2014/main" id="{6BC0FB73-6BDE-3CBD-C322-2CE6952DFA81}"/>
              </a:ext>
            </a:extLst>
          </p:cNvPr>
          <p:cNvSpPr>
            <a:spLocks noGrp="1"/>
          </p:cNvSpPr>
          <p:nvPr>
            <p:ph type="body" sz="quarter" idx="15" hasCustomPrompt="1"/>
          </p:nvPr>
        </p:nvSpPr>
        <p:spPr>
          <a:xfrm>
            <a:off x="1547810" y="1570530"/>
            <a:ext cx="3179675" cy="521803"/>
          </a:xfrm>
          <a:solidFill>
            <a:srgbClr val="2E2E38"/>
          </a:solidFill>
        </p:spPr>
        <p:txBody>
          <a:bodyPr anchor="ctr"/>
          <a:lstStyle>
            <a:lvl1pPr marL="0" indent="0" algn="ctr">
              <a:buNone/>
              <a:defRPr lang="en-US" sz="1800" b="1" kern="1200">
                <a:solidFill>
                  <a:srgbClr val="FFE700"/>
                </a:solidFill>
                <a:latin typeface="+mn-lt"/>
                <a:ea typeface="+mn-ea"/>
                <a:cs typeface="+mn-cs"/>
              </a:defRPr>
            </a:lvl1pPr>
          </a:lstStyle>
          <a:p>
            <a:pPr lvl="0"/>
            <a:r>
              <a:rPr lang="en-US"/>
              <a:t>Subtitle</a:t>
            </a:r>
          </a:p>
        </p:txBody>
      </p:sp>
      <p:sp>
        <p:nvSpPr>
          <p:cNvPr id="18" name="Rounded Rectangle 17">
            <a:extLst>
              <a:ext uri="{FF2B5EF4-FFF2-40B4-BE49-F238E27FC236}">
                <a16:creationId xmlns:a16="http://schemas.microsoft.com/office/drawing/2014/main" id="{609B0314-040E-463C-FC58-E3B0A6BDD957}"/>
              </a:ext>
            </a:extLst>
          </p:cNvPr>
          <p:cNvSpPr/>
          <p:nvPr userDrawn="1"/>
        </p:nvSpPr>
        <p:spPr>
          <a:xfrm>
            <a:off x="6526308" y="1831433"/>
            <a:ext cx="5056093" cy="4338918"/>
          </a:xfrm>
          <a:prstGeom prst="roundRect">
            <a:avLst>
              <a:gd name="adj" fmla="val 8609"/>
            </a:avLst>
          </a:prstGeom>
          <a:noFill/>
          <a:ln w="12700">
            <a:solidFill>
              <a:srgbClr val="FFE7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9" name="Text Placeholder 12">
            <a:extLst>
              <a:ext uri="{FF2B5EF4-FFF2-40B4-BE49-F238E27FC236}">
                <a16:creationId xmlns:a16="http://schemas.microsoft.com/office/drawing/2014/main" id="{280CF24D-1388-6AC3-C092-AD6482FA6C48}"/>
              </a:ext>
            </a:extLst>
          </p:cNvPr>
          <p:cNvSpPr>
            <a:spLocks noGrp="1"/>
          </p:cNvSpPr>
          <p:nvPr>
            <p:ph type="body" sz="quarter" idx="16"/>
          </p:nvPr>
        </p:nvSpPr>
        <p:spPr>
          <a:xfrm>
            <a:off x="6858048" y="2163361"/>
            <a:ext cx="4392612" cy="3675063"/>
          </a:xfrm>
          <a:no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2">
            <a:extLst>
              <a:ext uri="{FF2B5EF4-FFF2-40B4-BE49-F238E27FC236}">
                <a16:creationId xmlns:a16="http://schemas.microsoft.com/office/drawing/2014/main" id="{FCCA48BE-275E-7CD6-8668-A5CC4D196C4A}"/>
              </a:ext>
            </a:extLst>
          </p:cNvPr>
          <p:cNvSpPr>
            <a:spLocks noGrp="1"/>
          </p:cNvSpPr>
          <p:nvPr>
            <p:ph type="body" sz="quarter" idx="17" hasCustomPrompt="1"/>
          </p:nvPr>
        </p:nvSpPr>
        <p:spPr>
          <a:xfrm>
            <a:off x="7464517" y="1570530"/>
            <a:ext cx="3179675" cy="521803"/>
          </a:xfrm>
          <a:solidFill>
            <a:srgbClr val="2E2E38"/>
          </a:solidFill>
        </p:spPr>
        <p:txBody>
          <a:bodyPr anchor="ctr"/>
          <a:lstStyle>
            <a:lvl1pPr marL="0" indent="0" algn="ctr">
              <a:buNone/>
              <a:defRPr lang="en-US" sz="1800" b="1" kern="1200">
                <a:solidFill>
                  <a:srgbClr val="FFE700"/>
                </a:solidFill>
                <a:latin typeface="+mn-lt"/>
                <a:ea typeface="+mn-ea"/>
                <a:cs typeface="+mn-cs"/>
              </a:defRPr>
            </a:lvl1pPr>
          </a:lstStyle>
          <a:p>
            <a:pPr lvl="0"/>
            <a:r>
              <a:rPr lang="en-US"/>
              <a:t>Subtitle</a:t>
            </a:r>
          </a:p>
        </p:txBody>
      </p:sp>
      <p:sp>
        <p:nvSpPr>
          <p:cNvPr id="21" name="Oval 20">
            <a:extLst>
              <a:ext uri="{FF2B5EF4-FFF2-40B4-BE49-F238E27FC236}">
                <a16:creationId xmlns:a16="http://schemas.microsoft.com/office/drawing/2014/main" id="{75F584FA-C1AD-7386-58D8-332CB2291571}"/>
              </a:ext>
            </a:extLst>
          </p:cNvPr>
          <p:cNvSpPr/>
          <p:nvPr userDrawn="1"/>
        </p:nvSpPr>
        <p:spPr>
          <a:xfrm>
            <a:off x="2802635" y="958213"/>
            <a:ext cx="670023" cy="670023"/>
          </a:xfrm>
          <a:prstGeom prst="ellipse">
            <a:avLst/>
          </a:prstGeom>
          <a:solidFill>
            <a:srgbClr val="FFE7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050">
                <a:solidFill>
                  <a:schemeClr val="tx1"/>
                </a:solidFill>
              </a:rPr>
              <a:t>Icon</a:t>
            </a:r>
          </a:p>
        </p:txBody>
      </p:sp>
      <p:sp>
        <p:nvSpPr>
          <p:cNvPr id="23" name="Oval 22">
            <a:extLst>
              <a:ext uri="{FF2B5EF4-FFF2-40B4-BE49-F238E27FC236}">
                <a16:creationId xmlns:a16="http://schemas.microsoft.com/office/drawing/2014/main" id="{D074CCF5-6AD2-4C76-9060-D2FB77B794D5}"/>
              </a:ext>
            </a:extLst>
          </p:cNvPr>
          <p:cNvSpPr/>
          <p:nvPr userDrawn="1"/>
        </p:nvSpPr>
        <p:spPr>
          <a:xfrm>
            <a:off x="8719344" y="958213"/>
            <a:ext cx="670023" cy="670023"/>
          </a:xfrm>
          <a:prstGeom prst="ellipse">
            <a:avLst/>
          </a:prstGeom>
          <a:solidFill>
            <a:srgbClr val="FFE7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050">
                <a:solidFill>
                  <a:schemeClr val="tx1"/>
                </a:solidFill>
              </a:rPr>
              <a:t>Icon</a:t>
            </a:r>
          </a:p>
        </p:txBody>
      </p:sp>
      <p:cxnSp>
        <p:nvCxnSpPr>
          <p:cNvPr id="7" name="Straight Connector 6">
            <a:extLst>
              <a:ext uri="{FF2B5EF4-FFF2-40B4-BE49-F238E27FC236}">
                <a16:creationId xmlns:a16="http://schemas.microsoft.com/office/drawing/2014/main" id="{ED54D606-7B86-5D28-68CE-74577E1A3262}"/>
              </a:ext>
            </a:extLst>
          </p:cNvPr>
          <p:cNvCxnSpPr/>
          <p:nvPr userDrawn="1"/>
        </p:nvCxnSpPr>
        <p:spPr>
          <a:xfrm>
            <a:off x="609601" y="885080"/>
            <a:ext cx="10972800" cy="0"/>
          </a:xfrm>
          <a:prstGeom prst="line">
            <a:avLst/>
          </a:prstGeom>
          <a:ln w="9525">
            <a:solidFill>
              <a:srgbClr val="FFE7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072702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with Image_Yellow Fille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3031123-D918-B647-4200-5C18335DBDBD}"/>
              </a:ext>
            </a:extLst>
          </p:cNvPr>
          <p:cNvSpPr>
            <a:spLocks noGrp="1"/>
          </p:cNvSpPr>
          <p:nvPr>
            <p:ph type="pic" sz="quarter" idx="10" hasCustomPrompt="1"/>
          </p:nvPr>
        </p:nvSpPr>
        <p:spPr>
          <a:xfrm>
            <a:off x="0" y="0"/>
            <a:ext cx="12192000" cy="6858000"/>
          </a:xfrm>
          <a:solidFill>
            <a:srgbClr val="797991">
              <a:alpha val="20000"/>
            </a:srgbClr>
          </a:solidFill>
        </p:spPr>
        <p:txBody>
          <a:bodyPr/>
          <a:lstStyle>
            <a:lvl1pPr marL="0" indent="0">
              <a:buNone/>
              <a:defRPr sz="100" u="sng"/>
            </a:lvl1pPr>
          </a:lstStyle>
          <a:p>
            <a:r>
              <a:rPr lang="es-ES_tradnl" dirty="0"/>
              <a:t>.</a:t>
            </a:r>
            <a:endParaRPr lang="en-US" dirty="0"/>
          </a:p>
        </p:txBody>
      </p:sp>
      <p:sp>
        <p:nvSpPr>
          <p:cNvPr id="11" name="Title 1"/>
          <p:cNvSpPr>
            <a:spLocks noGrp="1"/>
          </p:cNvSpPr>
          <p:nvPr>
            <p:ph type="ctrTitle" hasCustomPrompt="1"/>
          </p:nvPr>
        </p:nvSpPr>
        <p:spPr>
          <a:xfrm>
            <a:off x="775101" y="1954221"/>
            <a:ext cx="4326679" cy="979702"/>
          </a:xfrm>
        </p:spPr>
        <p:txBody>
          <a:bodyPr/>
          <a:lstStyle>
            <a:lvl1pPr>
              <a:defRPr sz="2998" b="0">
                <a:solidFill>
                  <a:schemeClr val="tx1"/>
                </a:solidFill>
                <a:latin typeface="EYInterstate Light" panose="02000506000000020004" pitchFamily="2" charset="0"/>
                <a:cs typeface="Arial" pitchFamily="34" charset="0"/>
              </a:defRPr>
            </a:lvl1pPr>
          </a:lstStyle>
          <a:p>
            <a:r>
              <a:rPr lang="en-US"/>
              <a:t>Presentation Title</a:t>
            </a:r>
            <a:endParaRPr lang="en-GB"/>
          </a:p>
        </p:txBody>
      </p:sp>
      <p:sp>
        <p:nvSpPr>
          <p:cNvPr id="12" name="Subtitle 2"/>
          <p:cNvSpPr>
            <a:spLocks noGrp="1"/>
          </p:cNvSpPr>
          <p:nvPr>
            <p:ph type="subTitle" idx="1" hasCustomPrompt="1"/>
          </p:nvPr>
        </p:nvSpPr>
        <p:spPr>
          <a:xfrm>
            <a:off x="775101" y="3046160"/>
            <a:ext cx="4326679" cy="683425"/>
          </a:xfrm>
        </p:spPr>
        <p:txBody>
          <a:bodyPr/>
          <a:lstStyle>
            <a:lvl1pPr marL="0" indent="0" algn="l">
              <a:spcAft>
                <a:spcPts val="1199"/>
              </a:spcAft>
              <a:buNone/>
              <a:defRPr sz="1999">
                <a:solidFill>
                  <a:schemeClr val="tx1"/>
                </a:solidFill>
                <a:latin typeface="EYInterstate Regular" panose="02000503020000020004" pitchFamily="2" charset="0"/>
                <a:cs typeface="Arial" pitchFamily="34" charset="0"/>
              </a:defRPr>
            </a:lvl1pPr>
            <a:lvl2pPr marL="0" indent="0" algn="l">
              <a:buNone/>
              <a:defRPr sz="1599" b="1">
                <a:solidFill>
                  <a:srgbClr val="404040"/>
                </a:solidFill>
              </a:defRPr>
            </a:lvl2pPr>
            <a:lvl3pPr marL="913760" indent="0" algn="ctr">
              <a:buNone/>
              <a:defRPr>
                <a:solidFill>
                  <a:schemeClr val="tx1">
                    <a:tint val="75000"/>
                  </a:schemeClr>
                </a:solidFill>
              </a:defRPr>
            </a:lvl3pPr>
            <a:lvl4pPr marL="1370640" indent="0" algn="ctr">
              <a:buNone/>
              <a:defRPr>
                <a:solidFill>
                  <a:schemeClr val="tx1">
                    <a:tint val="75000"/>
                  </a:schemeClr>
                </a:solidFill>
              </a:defRPr>
            </a:lvl4pPr>
            <a:lvl5pPr marL="1827520" indent="0" algn="ctr">
              <a:buNone/>
              <a:defRPr>
                <a:solidFill>
                  <a:schemeClr val="tx1">
                    <a:tint val="75000"/>
                  </a:schemeClr>
                </a:solidFill>
              </a:defRPr>
            </a:lvl5pPr>
            <a:lvl6pPr marL="2284400" indent="0" algn="ctr">
              <a:buNone/>
              <a:defRPr>
                <a:solidFill>
                  <a:schemeClr val="tx1">
                    <a:tint val="75000"/>
                  </a:schemeClr>
                </a:solidFill>
              </a:defRPr>
            </a:lvl6pPr>
            <a:lvl7pPr marL="2741280" indent="0" algn="ctr">
              <a:buNone/>
              <a:defRPr>
                <a:solidFill>
                  <a:schemeClr val="tx1">
                    <a:tint val="75000"/>
                  </a:schemeClr>
                </a:solidFill>
              </a:defRPr>
            </a:lvl7pPr>
            <a:lvl8pPr marL="3198160" indent="0" algn="ctr">
              <a:buNone/>
              <a:defRPr>
                <a:solidFill>
                  <a:schemeClr val="tx1">
                    <a:tint val="75000"/>
                  </a:schemeClr>
                </a:solidFill>
              </a:defRPr>
            </a:lvl8pPr>
            <a:lvl9pPr marL="3655040" indent="0" algn="ctr">
              <a:buNone/>
              <a:defRPr>
                <a:solidFill>
                  <a:schemeClr val="tx1">
                    <a:tint val="75000"/>
                  </a:schemeClr>
                </a:solidFill>
              </a:defRPr>
            </a:lvl9pPr>
          </a:lstStyle>
          <a:p>
            <a:pPr lvl="0"/>
            <a:r>
              <a:rPr lang="en-US"/>
              <a:t>Subtitle (Date)</a:t>
            </a:r>
            <a:endParaRPr lang="en-GB"/>
          </a:p>
        </p:txBody>
      </p:sp>
      <p:sp>
        <p:nvSpPr>
          <p:cNvPr id="2" name="Date Placeholder 2">
            <a:extLst>
              <a:ext uri="{FF2B5EF4-FFF2-40B4-BE49-F238E27FC236}">
                <a16:creationId xmlns:a16="http://schemas.microsoft.com/office/drawing/2014/main" id="{D245EB60-1980-A7CF-E1D4-0984EAD7AF85}"/>
              </a:ext>
            </a:extLst>
          </p:cNvPr>
          <p:cNvSpPr>
            <a:spLocks noGrp="1"/>
          </p:cNvSpPr>
          <p:nvPr>
            <p:ph type="dt" sz="half" idx="11"/>
          </p:nvPr>
        </p:nvSpPr>
        <p:spPr>
          <a:xfrm>
            <a:off x="775101" y="3841822"/>
            <a:ext cx="3942713" cy="364417"/>
          </a:xfrm>
        </p:spPr>
        <p:txBody>
          <a:bodyPr/>
          <a:lstStyle>
            <a:lvl1pPr>
              <a:defRPr sz="2000" b="1">
                <a:solidFill>
                  <a:schemeClr val="tx1"/>
                </a:solidFill>
              </a:defRPr>
            </a:lvl1pPr>
          </a:lstStyle>
          <a:p>
            <a:fld id="{DF4D8584-EC2B-432A-91A3-802800BBB2CA}" type="datetime3">
              <a:rPr lang="en-US" smtClean="0"/>
              <a:t>11 May 2024</a:t>
            </a:fld>
            <a:endParaRPr lang="en-US" dirty="0"/>
          </a:p>
        </p:txBody>
      </p:sp>
    </p:spTree>
    <p:extLst>
      <p:ext uri="{BB962C8B-B14F-4D97-AF65-F5344CB8AC3E}">
        <p14:creationId xmlns:p14="http://schemas.microsoft.com/office/powerpoint/2010/main" val="179175482"/>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E8CEF8-156E-A454-4215-12307EAE8227}"/>
              </a:ext>
            </a:extLst>
          </p:cNvPr>
          <p:cNvSpPr>
            <a:spLocks noGrp="1"/>
          </p:cNvSpPr>
          <p:nvPr>
            <p:ph type="title" hasCustomPrompt="1"/>
          </p:nvPr>
        </p:nvSpPr>
        <p:spPr/>
        <p:txBody>
          <a:bodyPr/>
          <a:lstStyle/>
          <a:p>
            <a:r>
              <a:rPr lang="en-US"/>
              <a:t>Slide title</a:t>
            </a:r>
          </a:p>
        </p:txBody>
      </p:sp>
      <p:sp>
        <p:nvSpPr>
          <p:cNvPr id="3" name="Date Placeholder 2">
            <a:extLst>
              <a:ext uri="{FF2B5EF4-FFF2-40B4-BE49-F238E27FC236}">
                <a16:creationId xmlns:a16="http://schemas.microsoft.com/office/drawing/2014/main" id="{1844822E-363A-6819-B528-948D21335EFA}"/>
              </a:ext>
            </a:extLst>
          </p:cNvPr>
          <p:cNvSpPr>
            <a:spLocks noGrp="1"/>
          </p:cNvSpPr>
          <p:nvPr>
            <p:ph type="dt" sz="half" idx="10"/>
          </p:nvPr>
        </p:nvSpPr>
        <p:spPr/>
        <p:txBody>
          <a:bodyPr/>
          <a:lstStyle/>
          <a:p>
            <a:fld id="{CCF26A43-86CF-4965-91BC-80074B7D0C4D}" type="datetime3">
              <a:rPr lang="en-US" smtClean="0"/>
              <a:t>11 May 2024</a:t>
            </a:fld>
            <a:endParaRPr lang="en-IN"/>
          </a:p>
        </p:txBody>
      </p:sp>
      <p:sp>
        <p:nvSpPr>
          <p:cNvPr id="5" name="Slide Number Placeholder 4">
            <a:extLst>
              <a:ext uri="{FF2B5EF4-FFF2-40B4-BE49-F238E27FC236}">
                <a16:creationId xmlns:a16="http://schemas.microsoft.com/office/drawing/2014/main" id="{9F410969-4E0A-3328-D9D1-440840970182}"/>
              </a:ext>
            </a:extLst>
          </p:cNvPr>
          <p:cNvSpPr>
            <a:spLocks noGrp="1"/>
          </p:cNvSpPr>
          <p:nvPr>
            <p:ph type="sldNum" sz="quarter" idx="12"/>
          </p:nvPr>
        </p:nvSpPr>
        <p:spPr/>
        <p:txBody>
          <a:bodyPr/>
          <a:lstStyle/>
          <a:p>
            <a:r>
              <a:rPr lang="en-GB"/>
              <a:t>Page </a:t>
            </a:r>
            <a:fld id="{F1BC30E3-FFE5-4B91-AA19-87A149EBB9EE}" type="slidenum">
              <a:rPr smtClean="0"/>
              <a:t>‹#›</a:t>
            </a:fld>
            <a:endParaRPr/>
          </a:p>
        </p:txBody>
      </p:sp>
      <p:graphicFrame>
        <p:nvGraphicFramePr>
          <p:cNvPr id="6" name="Table 5">
            <a:extLst>
              <a:ext uri="{FF2B5EF4-FFF2-40B4-BE49-F238E27FC236}">
                <a16:creationId xmlns:a16="http://schemas.microsoft.com/office/drawing/2014/main" id="{10EA5E3C-ACAB-17C9-A525-841FCB92B209}"/>
              </a:ext>
            </a:extLst>
          </p:cNvPr>
          <p:cNvGraphicFramePr>
            <a:graphicFrameLocks noGrp="1"/>
          </p:cNvGraphicFramePr>
          <p:nvPr userDrawn="1">
            <p:extLst>
              <p:ext uri="{D42A27DB-BD31-4B8C-83A1-F6EECF244321}">
                <p14:modId xmlns:p14="http://schemas.microsoft.com/office/powerpoint/2010/main" val="1723205860"/>
              </p:ext>
            </p:extLst>
          </p:nvPr>
        </p:nvGraphicFramePr>
        <p:xfrm>
          <a:off x="609601" y="1203959"/>
          <a:ext cx="10972800" cy="4892566"/>
        </p:xfrm>
        <a:graphic>
          <a:graphicData uri="http://schemas.openxmlformats.org/drawingml/2006/table">
            <a:tbl>
              <a:tblPr firstRow="1" bandRow="1">
                <a:tableStyleId>{5940675A-B579-460E-94D1-54222C63F5DA}</a:tableStyleId>
              </a:tblPr>
              <a:tblGrid>
                <a:gridCol w="3657600">
                  <a:extLst>
                    <a:ext uri="{9D8B030D-6E8A-4147-A177-3AD203B41FA5}">
                      <a16:colId xmlns:a16="http://schemas.microsoft.com/office/drawing/2014/main" val="1732045646"/>
                    </a:ext>
                  </a:extLst>
                </a:gridCol>
                <a:gridCol w="3657600">
                  <a:extLst>
                    <a:ext uri="{9D8B030D-6E8A-4147-A177-3AD203B41FA5}">
                      <a16:colId xmlns:a16="http://schemas.microsoft.com/office/drawing/2014/main" val="3089204374"/>
                    </a:ext>
                  </a:extLst>
                </a:gridCol>
                <a:gridCol w="3657600">
                  <a:extLst>
                    <a:ext uri="{9D8B030D-6E8A-4147-A177-3AD203B41FA5}">
                      <a16:colId xmlns:a16="http://schemas.microsoft.com/office/drawing/2014/main" val="2983244722"/>
                    </a:ext>
                  </a:extLst>
                </a:gridCol>
              </a:tblGrid>
              <a:tr h="436582">
                <a:tc>
                  <a:txBody>
                    <a:bodyPr/>
                    <a:lstStyle/>
                    <a:p>
                      <a:pPr algn="ctr"/>
                      <a:r>
                        <a:rPr lang="en-US" sz="1400">
                          <a:solidFill>
                            <a:schemeClr val="bg1"/>
                          </a:solidFill>
                        </a:rPr>
                        <a:t>Key Activities</a:t>
                      </a:r>
                    </a:p>
                  </a:txBody>
                  <a:tcPr anchor="ctr">
                    <a:solidFill>
                      <a:schemeClr val="bg2">
                        <a:lumMod val="50000"/>
                        <a:lumOff val="50000"/>
                      </a:schemeClr>
                    </a:solidFill>
                  </a:tcPr>
                </a:tc>
                <a:tc>
                  <a:txBody>
                    <a:bodyPr/>
                    <a:lstStyle/>
                    <a:p>
                      <a:pPr algn="ctr"/>
                      <a:r>
                        <a:rPr lang="en-US" sz="1400">
                          <a:solidFill>
                            <a:schemeClr val="bg1"/>
                          </a:solidFill>
                        </a:rPr>
                        <a:t>Detailed Activities</a:t>
                      </a:r>
                    </a:p>
                  </a:txBody>
                  <a:tcPr anchor="ctr">
                    <a:solidFill>
                      <a:schemeClr val="bg2">
                        <a:lumMod val="50000"/>
                        <a:lumOff val="50000"/>
                      </a:schemeClr>
                    </a:solidFill>
                  </a:tcPr>
                </a:tc>
                <a:tc>
                  <a:txBody>
                    <a:bodyPr/>
                    <a:lstStyle/>
                    <a:p>
                      <a:pPr algn="ctr"/>
                      <a:r>
                        <a:rPr lang="en-US" sz="1400"/>
                        <a:t>Deliverables</a:t>
                      </a:r>
                    </a:p>
                  </a:txBody>
                  <a:tcPr anchor="ctr">
                    <a:solidFill>
                      <a:srgbClr val="FFE700"/>
                    </a:solidFill>
                  </a:tcPr>
                </a:tc>
                <a:extLst>
                  <a:ext uri="{0D108BD9-81ED-4DB2-BD59-A6C34878D82A}">
                    <a16:rowId xmlns:a16="http://schemas.microsoft.com/office/drawing/2014/main" val="851314965"/>
                  </a:ext>
                </a:extLst>
              </a:tr>
              <a:tr h="742664">
                <a:tc>
                  <a:txBody>
                    <a:bodyPr/>
                    <a:lstStyle/>
                    <a:p>
                      <a:r>
                        <a:rPr lang="en-US" sz="1200" b="1">
                          <a:solidFill>
                            <a:schemeClr val="bg1"/>
                          </a:solidFill>
                        </a:rPr>
                        <a:t>Text</a:t>
                      </a:r>
                    </a:p>
                  </a:txBody>
                  <a:tcPr>
                    <a:lnR w="12700" cap="flat" cmpd="sng" algn="ctr">
                      <a:noFill/>
                      <a:prstDash val="solid"/>
                      <a:round/>
                      <a:headEnd type="none" w="med" len="med"/>
                      <a:tailEnd type="none" w="med" len="med"/>
                    </a:lnR>
                    <a:lnB w="12700" cap="flat" cmpd="sng" algn="ctr">
                      <a:solidFill>
                        <a:schemeClr val="bg2">
                          <a:lumMod val="50000"/>
                          <a:lumOff val="50000"/>
                        </a:schemeClr>
                      </a:solidFill>
                      <a:prstDash val="solid"/>
                      <a:round/>
                      <a:headEnd type="none" w="med" len="med"/>
                      <a:tailEnd type="none" w="med" len="med"/>
                    </a:lnB>
                  </a:tcPr>
                </a:tc>
                <a:tc>
                  <a:txBody>
                    <a:bodyPr/>
                    <a:lstStyle/>
                    <a:p>
                      <a:pPr marL="171450" indent="-171450">
                        <a:buFont typeface="Arial" pitchFamily="34" charset="0"/>
                        <a:buChar char="•"/>
                      </a:pPr>
                      <a:r>
                        <a:rPr lang="en-US" sz="1200">
                          <a:solidFill>
                            <a:schemeClr val="bg1"/>
                          </a:solidFill>
                        </a:rPr>
                        <a:t>Tex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2">
                          <a:lumMod val="50000"/>
                          <a:lumOff val="50000"/>
                        </a:schemeClr>
                      </a:solidFill>
                      <a:prstDash val="solid"/>
                      <a:round/>
                      <a:headEnd type="none" w="med" len="med"/>
                      <a:tailEnd type="none" w="med" len="med"/>
                    </a:lnB>
                  </a:tcPr>
                </a:tc>
                <a:tc>
                  <a:txBody>
                    <a:bodyPr/>
                    <a:lstStyle/>
                    <a:p>
                      <a:pPr marL="171450" marR="0" lvl="0" indent="-171450" algn="l" defTabSz="913760" rtl="0" eaLnBrk="1" fontAlgn="auto" latinLnBrk="0" hangingPunct="1">
                        <a:lnSpc>
                          <a:spcPct val="100000"/>
                        </a:lnSpc>
                        <a:spcBef>
                          <a:spcPct val="0"/>
                        </a:spcBef>
                        <a:spcAft>
                          <a:spcPct val="0"/>
                        </a:spcAft>
                        <a:buClrTx/>
                        <a:buSzTx/>
                        <a:buFont typeface="Arial" pitchFamily="34" charset="0"/>
                        <a:buChar char="•"/>
                        <a:defRPr/>
                      </a:pPr>
                      <a:r>
                        <a:rPr lang="en-US" sz="1200">
                          <a:solidFill>
                            <a:schemeClr val="bg1"/>
                          </a:solidFill>
                        </a:rPr>
                        <a:t>Text</a:t>
                      </a:r>
                    </a:p>
                    <a:p>
                      <a:endParaRPr lang="en-US" sz="1200">
                        <a:solidFill>
                          <a:schemeClr val="bg1"/>
                        </a:solidFill>
                      </a:endParaRPr>
                    </a:p>
                  </a:txBody>
                  <a:tcPr>
                    <a:lnL w="12700" cap="flat" cmpd="sng" algn="ctr">
                      <a:noFill/>
                      <a:prstDash val="solid"/>
                      <a:round/>
                      <a:headEnd type="none" w="med" len="med"/>
                      <a:tailEnd type="none" w="med" len="med"/>
                    </a:lnL>
                    <a:lnB w="12700" cap="flat" cmpd="sng" algn="ctr">
                      <a:solidFill>
                        <a:schemeClr val="bg2">
                          <a:lumMod val="50000"/>
                          <a:lumOff val="50000"/>
                        </a:schemeClr>
                      </a:solidFill>
                      <a:prstDash val="solid"/>
                      <a:round/>
                      <a:headEnd type="none" w="med" len="med"/>
                      <a:tailEnd type="none" w="med" len="med"/>
                    </a:lnB>
                    <a:solidFill>
                      <a:schemeClr val="tx2">
                        <a:alpha val="13323"/>
                      </a:schemeClr>
                    </a:solidFill>
                  </a:tcPr>
                </a:tc>
                <a:extLst>
                  <a:ext uri="{0D108BD9-81ED-4DB2-BD59-A6C34878D82A}">
                    <a16:rowId xmlns:a16="http://schemas.microsoft.com/office/drawing/2014/main" val="3463629653"/>
                  </a:ext>
                </a:extLst>
              </a:tr>
              <a:tr h="742664">
                <a:tc>
                  <a:txBody>
                    <a:bodyPr/>
                    <a:lstStyle/>
                    <a:p>
                      <a:r>
                        <a:rPr lang="en-US" sz="1200" b="1">
                          <a:solidFill>
                            <a:schemeClr val="bg1"/>
                          </a:solidFill>
                        </a:rPr>
                        <a:t>Text</a:t>
                      </a:r>
                    </a:p>
                  </a:txBody>
                  <a:tcPr>
                    <a:lnR w="12700" cap="flat" cmpd="sng" algn="ctr">
                      <a:noFill/>
                      <a:prstDash val="solid"/>
                      <a:round/>
                      <a:headEnd type="none" w="med" len="med"/>
                      <a:tailEnd type="none" w="med" len="med"/>
                    </a:lnR>
                    <a:lnT w="12700" cap="flat" cmpd="sng" algn="ctr">
                      <a:solidFill>
                        <a:schemeClr val="bg2">
                          <a:lumMod val="50000"/>
                          <a:lumOff val="50000"/>
                        </a:schemeClr>
                      </a:solidFill>
                      <a:prstDash val="solid"/>
                      <a:round/>
                      <a:headEnd type="none" w="med" len="med"/>
                      <a:tailEnd type="none" w="med" len="med"/>
                    </a:lnT>
                    <a:lnB w="12700" cap="flat" cmpd="sng" algn="ctr">
                      <a:solidFill>
                        <a:schemeClr val="bg2">
                          <a:lumMod val="50000"/>
                          <a:lumOff val="50000"/>
                        </a:schemeClr>
                      </a:solidFill>
                      <a:prstDash val="solid"/>
                      <a:round/>
                      <a:headEnd type="none" w="med" len="med"/>
                      <a:tailEnd type="none" w="med" len="med"/>
                    </a:lnB>
                  </a:tcPr>
                </a:tc>
                <a:tc>
                  <a:txBody>
                    <a:bodyPr/>
                    <a:lstStyle/>
                    <a:p>
                      <a:pPr marL="171450" marR="0" lvl="0" indent="-171450" algn="l" defTabSz="913760" rtl="0" eaLnBrk="1" fontAlgn="auto" latinLnBrk="0" hangingPunct="1">
                        <a:lnSpc>
                          <a:spcPct val="100000"/>
                        </a:lnSpc>
                        <a:spcBef>
                          <a:spcPct val="0"/>
                        </a:spcBef>
                        <a:spcAft>
                          <a:spcPct val="0"/>
                        </a:spcAft>
                        <a:buClrTx/>
                        <a:buSzTx/>
                        <a:buFont typeface="Arial" pitchFamily="34" charset="0"/>
                        <a:buChar char="•"/>
                        <a:defRPr/>
                      </a:pPr>
                      <a:r>
                        <a:rPr kumimoji="0" lang="en-US" sz="1200" b="0" i="0" u="none" strike="noStrike" kern="1200" cap="none" spc="0" normalizeH="0" baseline="0" noProof="0">
                          <a:ln>
                            <a:noFill/>
                          </a:ln>
                          <a:solidFill>
                            <a:prstClr val="white"/>
                          </a:solidFill>
                          <a:effectLst/>
                          <a:uLnTx/>
                          <a:uFillTx/>
                          <a:latin typeface="EYInterstate Light"/>
                          <a:ea typeface="+mn-ea"/>
                          <a:cs typeface="+mn-cs"/>
                        </a:rPr>
                        <a:t>Tex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50000"/>
                          <a:lumOff val="50000"/>
                        </a:schemeClr>
                      </a:solidFill>
                      <a:prstDash val="solid"/>
                      <a:round/>
                      <a:headEnd type="none" w="med" len="med"/>
                      <a:tailEnd type="none" w="med" len="med"/>
                    </a:lnT>
                    <a:lnB w="12700" cap="flat" cmpd="sng" algn="ctr">
                      <a:solidFill>
                        <a:schemeClr val="bg2">
                          <a:lumMod val="50000"/>
                          <a:lumOff val="50000"/>
                        </a:schemeClr>
                      </a:solidFill>
                      <a:prstDash val="solid"/>
                      <a:round/>
                      <a:headEnd type="none" w="med" len="med"/>
                      <a:tailEnd type="none" w="med" len="med"/>
                    </a:lnB>
                  </a:tcPr>
                </a:tc>
                <a:tc>
                  <a:txBody>
                    <a:bodyPr/>
                    <a:lstStyle/>
                    <a:p>
                      <a:pPr marL="171450" marR="0" lvl="0" indent="-171450" algn="l" defTabSz="913760" rtl="0" eaLnBrk="1" fontAlgn="auto" latinLnBrk="0" hangingPunct="1">
                        <a:lnSpc>
                          <a:spcPct val="100000"/>
                        </a:lnSpc>
                        <a:spcBef>
                          <a:spcPct val="0"/>
                        </a:spcBef>
                        <a:spcAft>
                          <a:spcPct val="0"/>
                        </a:spcAft>
                        <a:buClrTx/>
                        <a:buSzTx/>
                        <a:buFont typeface="Arial" pitchFamily="34" charset="0"/>
                        <a:buChar char="•"/>
                        <a:defRPr/>
                      </a:pPr>
                      <a:r>
                        <a:rPr kumimoji="0" lang="en-US" sz="1200" b="0" i="0" u="none" strike="noStrike" kern="1200" cap="none" spc="0" normalizeH="0" baseline="0" noProof="0">
                          <a:ln>
                            <a:noFill/>
                          </a:ln>
                          <a:solidFill>
                            <a:prstClr val="white"/>
                          </a:solidFill>
                          <a:effectLst/>
                          <a:uLnTx/>
                          <a:uFillTx/>
                          <a:latin typeface="EYInterstate Light"/>
                          <a:ea typeface="+mn-ea"/>
                          <a:cs typeface="+mn-cs"/>
                        </a:rPr>
                        <a:t>Text</a:t>
                      </a:r>
                    </a:p>
                  </a:txBody>
                  <a:tcPr>
                    <a:lnL w="12700" cap="flat" cmpd="sng" algn="ctr">
                      <a:noFill/>
                      <a:prstDash val="solid"/>
                      <a:round/>
                      <a:headEnd type="none" w="med" len="med"/>
                      <a:tailEnd type="none" w="med" len="med"/>
                    </a:lnL>
                    <a:lnT w="12700" cap="flat" cmpd="sng" algn="ctr">
                      <a:solidFill>
                        <a:schemeClr val="bg2">
                          <a:lumMod val="50000"/>
                          <a:lumOff val="50000"/>
                        </a:schemeClr>
                      </a:solidFill>
                      <a:prstDash val="solid"/>
                      <a:round/>
                      <a:headEnd type="none" w="med" len="med"/>
                      <a:tailEnd type="none" w="med" len="med"/>
                    </a:lnT>
                    <a:lnB w="12700" cap="flat" cmpd="sng" algn="ctr">
                      <a:solidFill>
                        <a:schemeClr val="bg2">
                          <a:lumMod val="50000"/>
                          <a:lumOff val="50000"/>
                        </a:schemeClr>
                      </a:solidFill>
                      <a:prstDash val="solid"/>
                      <a:round/>
                      <a:headEnd type="none" w="med" len="med"/>
                      <a:tailEnd type="none" w="med" len="med"/>
                    </a:lnB>
                    <a:solidFill>
                      <a:schemeClr val="tx2">
                        <a:alpha val="13323"/>
                      </a:schemeClr>
                    </a:solidFill>
                  </a:tcPr>
                </a:tc>
                <a:extLst>
                  <a:ext uri="{0D108BD9-81ED-4DB2-BD59-A6C34878D82A}">
                    <a16:rowId xmlns:a16="http://schemas.microsoft.com/office/drawing/2014/main" val="2865647221"/>
                  </a:ext>
                </a:extLst>
              </a:tr>
              <a:tr h="742664">
                <a:tc>
                  <a:txBody>
                    <a:bodyPr/>
                    <a:lstStyle/>
                    <a:p>
                      <a:r>
                        <a:rPr lang="en-US" sz="1200" b="1">
                          <a:solidFill>
                            <a:schemeClr val="bg1"/>
                          </a:solidFill>
                        </a:rPr>
                        <a:t>Text</a:t>
                      </a:r>
                    </a:p>
                  </a:txBody>
                  <a:tcPr>
                    <a:lnR w="12700" cap="flat" cmpd="sng" algn="ctr">
                      <a:noFill/>
                      <a:prstDash val="solid"/>
                      <a:round/>
                      <a:headEnd type="none" w="med" len="med"/>
                      <a:tailEnd type="none" w="med" len="med"/>
                    </a:lnR>
                    <a:lnT w="12700" cap="flat" cmpd="sng" algn="ctr">
                      <a:solidFill>
                        <a:schemeClr val="bg2">
                          <a:lumMod val="50000"/>
                          <a:lumOff val="50000"/>
                        </a:schemeClr>
                      </a:solidFill>
                      <a:prstDash val="solid"/>
                      <a:round/>
                      <a:headEnd type="none" w="med" len="med"/>
                      <a:tailEnd type="none" w="med" len="med"/>
                    </a:lnT>
                    <a:lnB w="12700" cap="flat" cmpd="sng" algn="ctr">
                      <a:solidFill>
                        <a:schemeClr val="bg2">
                          <a:lumMod val="50000"/>
                          <a:lumOff val="50000"/>
                        </a:schemeClr>
                      </a:solidFill>
                      <a:prstDash val="solid"/>
                      <a:round/>
                      <a:headEnd type="none" w="med" len="med"/>
                      <a:tailEnd type="none" w="med" len="med"/>
                    </a:lnB>
                  </a:tcPr>
                </a:tc>
                <a:tc>
                  <a:txBody>
                    <a:bodyPr/>
                    <a:lstStyle/>
                    <a:p>
                      <a:pPr marL="171450" marR="0" lvl="0" indent="-171450" algn="l" defTabSz="913760" rtl="0" eaLnBrk="1" fontAlgn="auto" latinLnBrk="0" hangingPunct="1">
                        <a:lnSpc>
                          <a:spcPct val="100000"/>
                        </a:lnSpc>
                        <a:spcBef>
                          <a:spcPct val="0"/>
                        </a:spcBef>
                        <a:spcAft>
                          <a:spcPct val="0"/>
                        </a:spcAft>
                        <a:buClrTx/>
                        <a:buSzTx/>
                        <a:buFont typeface="Arial" pitchFamily="34" charset="0"/>
                        <a:buChar char="•"/>
                        <a:defRPr/>
                      </a:pPr>
                      <a:r>
                        <a:rPr kumimoji="0" lang="en-US" sz="1200" b="0" i="0" u="none" strike="noStrike" kern="1200" cap="none" spc="0" normalizeH="0" baseline="0" noProof="0">
                          <a:ln>
                            <a:noFill/>
                          </a:ln>
                          <a:solidFill>
                            <a:prstClr val="white"/>
                          </a:solidFill>
                          <a:effectLst/>
                          <a:uLnTx/>
                          <a:uFillTx/>
                          <a:latin typeface="EYInterstate Light"/>
                          <a:ea typeface="+mn-ea"/>
                          <a:cs typeface="+mn-cs"/>
                        </a:rPr>
                        <a:t>Tex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50000"/>
                          <a:lumOff val="50000"/>
                        </a:schemeClr>
                      </a:solidFill>
                      <a:prstDash val="solid"/>
                      <a:round/>
                      <a:headEnd type="none" w="med" len="med"/>
                      <a:tailEnd type="none" w="med" len="med"/>
                    </a:lnT>
                    <a:lnB w="12700" cap="flat" cmpd="sng" algn="ctr">
                      <a:solidFill>
                        <a:schemeClr val="bg2">
                          <a:lumMod val="50000"/>
                          <a:lumOff val="50000"/>
                        </a:schemeClr>
                      </a:solidFill>
                      <a:prstDash val="solid"/>
                      <a:round/>
                      <a:headEnd type="none" w="med" len="med"/>
                      <a:tailEnd type="none" w="med" len="med"/>
                    </a:lnB>
                  </a:tcPr>
                </a:tc>
                <a:tc>
                  <a:txBody>
                    <a:bodyPr/>
                    <a:lstStyle/>
                    <a:p>
                      <a:pPr marL="171450" marR="0" lvl="0" indent="-171450" algn="l" defTabSz="913760" rtl="0" eaLnBrk="1" fontAlgn="auto" latinLnBrk="0" hangingPunct="1">
                        <a:lnSpc>
                          <a:spcPct val="100000"/>
                        </a:lnSpc>
                        <a:spcBef>
                          <a:spcPct val="0"/>
                        </a:spcBef>
                        <a:spcAft>
                          <a:spcPct val="0"/>
                        </a:spcAft>
                        <a:buClrTx/>
                        <a:buSzTx/>
                        <a:buFont typeface="Arial" pitchFamily="34" charset="0"/>
                        <a:buChar char="•"/>
                        <a:defRPr/>
                      </a:pPr>
                      <a:r>
                        <a:rPr kumimoji="0" lang="en-US" sz="1200" b="0" i="0" u="none" strike="noStrike" kern="1200" cap="none" spc="0" normalizeH="0" baseline="0" noProof="0">
                          <a:ln>
                            <a:noFill/>
                          </a:ln>
                          <a:solidFill>
                            <a:prstClr val="white"/>
                          </a:solidFill>
                          <a:effectLst/>
                          <a:uLnTx/>
                          <a:uFillTx/>
                          <a:latin typeface="EYInterstate Light"/>
                          <a:ea typeface="+mn-ea"/>
                          <a:cs typeface="+mn-cs"/>
                        </a:rPr>
                        <a:t>Text</a:t>
                      </a:r>
                    </a:p>
                  </a:txBody>
                  <a:tcPr>
                    <a:lnL w="12700" cap="flat" cmpd="sng" algn="ctr">
                      <a:noFill/>
                      <a:prstDash val="solid"/>
                      <a:round/>
                      <a:headEnd type="none" w="med" len="med"/>
                      <a:tailEnd type="none" w="med" len="med"/>
                    </a:lnL>
                    <a:lnT w="12700" cap="flat" cmpd="sng" algn="ctr">
                      <a:solidFill>
                        <a:schemeClr val="bg2">
                          <a:lumMod val="50000"/>
                          <a:lumOff val="50000"/>
                        </a:schemeClr>
                      </a:solidFill>
                      <a:prstDash val="solid"/>
                      <a:round/>
                      <a:headEnd type="none" w="med" len="med"/>
                      <a:tailEnd type="none" w="med" len="med"/>
                    </a:lnT>
                    <a:lnB w="12700" cap="flat" cmpd="sng" algn="ctr">
                      <a:solidFill>
                        <a:schemeClr val="bg2">
                          <a:lumMod val="50000"/>
                          <a:lumOff val="50000"/>
                        </a:schemeClr>
                      </a:solidFill>
                      <a:prstDash val="solid"/>
                      <a:round/>
                      <a:headEnd type="none" w="med" len="med"/>
                      <a:tailEnd type="none" w="med" len="med"/>
                    </a:lnB>
                    <a:solidFill>
                      <a:schemeClr val="tx2">
                        <a:alpha val="13323"/>
                      </a:schemeClr>
                    </a:solidFill>
                  </a:tcPr>
                </a:tc>
                <a:extLst>
                  <a:ext uri="{0D108BD9-81ED-4DB2-BD59-A6C34878D82A}">
                    <a16:rowId xmlns:a16="http://schemas.microsoft.com/office/drawing/2014/main" val="3397038305"/>
                  </a:ext>
                </a:extLst>
              </a:tr>
              <a:tr h="742664">
                <a:tc>
                  <a:txBody>
                    <a:bodyPr/>
                    <a:lstStyle/>
                    <a:p>
                      <a:r>
                        <a:rPr lang="en-US" sz="1200" b="1">
                          <a:solidFill>
                            <a:schemeClr val="bg1"/>
                          </a:solidFill>
                        </a:rPr>
                        <a:t>Text</a:t>
                      </a:r>
                    </a:p>
                  </a:txBody>
                  <a:tcPr>
                    <a:lnR w="12700" cap="flat" cmpd="sng" algn="ctr">
                      <a:noFill/>
                      <a:prstDash val="solid"/>
                      <a:round/>
                      <a:headEnd type="none" w="med" len="med"/>
                      <a:tailEnd type="none" w="med" len="med"/>
                    </a:lnR>
                    <a:lnT w="12700" cap="flat" cmpd="sng" algn="ctr">
                      <a:solidFill>
                        <a:schemeClr val="bg2">
                          <a:lumMod val="50000"/>
                          <a:lumOff val="50000"/>
                        </a:schemeClr>
                      </a:solidFill>
                      <a:prstDash val="solid"/>
                      <a:round/>
                      <a:headEnd type="none" w="med" len="med"/>
                      <a:tailEnd type="none" w="med" len="med"/>
                    </a:lnT>
                    <a:lnB w="12700" cap="flat" cmpd="sng" algn="ctr">
                      <a:solidFill>
                        <a:schemeClr val="bg2">
                          <a:lumMod val="50000"/>
                          <a:lumOff val="50000"/>
                        </a:schemeClr>
                      </a:solidFill>
                      <a:prstDash val="solid"/>
                      <a:round/>
                      <a:headEnd type="none" w="med" len="med"/>
                      <a:tailEnd type="none" w="med" len="med"/>
                    </a:lnB>
                  </a:tcPr>
                </a:tc>
                <a:tc>
                  <a:txBody>
                    <a:bodyPr/>
                    <a:lstStyle/>
                    <a:p>
                      <a:pPr marL="171450" marR="0" lvl="0" indent="-171450" algn="l" defTabSz="913760" rtl="0" eaLnBrk="1" fontAlgn="auto" latinLnBrk="0" hangingPunct="1">
                        <a:lnSpc>
                          <a:spcPct val="100000"/>
                        </a:lnSpc>
                        <a:spcBef>
                          <a:spcPct val="0"/>
                        </a:spcBef>
                        <a:spcAft>
                          <a:spcPct val="0"/>
                        </a:spcAft>
                        <a:buClrTx/>
                        <a:buSzTx/>
                        <a:buFont typeface="Arial" pitchFamily="34" charset="0"/>
                        <a:buChar char="•"/>
                        <a:defRPr/>
                      </a:pPr>
                      <a:r>
                        <a:rPr kumimoji="0" lang="en-US" sz="1200" b="0" i="0" u="none" strike="noStrike" kern="1200" cap="none" spc="0" normalizeH="0" baseline="0" noProof="0">
                          <a:ln>
                            <a:noFill/>
                          </a:ln>
                          <a:solidFill>
                            <a:prstClr val="white"/>
                          </a:solidFill>
                          <a:effectLst/>
                          <a:uLnTx/>
                          <a:uFillTx/>
                          <a:latin typeface="EYInterstate Light"/>
                          <a:ea typeface="+mn-ea"/>
                          <a:cs typeface="+mn-cs"/>
                        </a:rPr>
                        <a:t>Tex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50000"/>
                          <a:lumOff val="50000"/>
                        </a:schemeClr>
                      </a:solidFill>
                      <a:prstDash val="solid"/>
                      <a:round/>
                      <a:headEnd type="none" w="med" len="med"/>
                      <a:tailEnd type="none" w="med" len="med"/>
                    </a:lnT>
                    <a:lnB w="12700" cap="flat" cmpd="sng" algn="ctr">
                      <a:solidFill>
                        <a:schemeClr val="bg2">
                          <a:lumMod val="50000"/>
                          <a:lumOff val="50000"/>
                        </a:schemeClr>
                      </a:solidFill>
                      <a:prstDash val="solid"/>
                      <a:round/>
                      <a:headEnd type="none" w="med" len="med"/>
                      <a:tailEnd type="none" w="med" len="med"/>
                    </a:lnB>
                  </a:tcPr>
                </a:tc>
                <a:tc>
                  <a:txBody>
                    <a:bodyPr/>
                    <a:lstStyle/>
                    <a:p>
                      <a:pPr marL="171450" marR="0" lvl="0" indent="-171450" algn="l" defTabSz="913760" rtl="0" eaLnBrk="1" fontAlgn="auto" latinLnBrk="0" hangingPunct="1">
                        <a:lnSpc>
                          <a:spcPct val="100000"/>
                        </a:lnSpc>
                        <a:spcBef>
                          <a:spcPct val="0"/>
                        </a:spcBef>
                        <a:spcAft>
                          <a:spcPct val="0"/>
                        </a:spcAft>
                        <a:buClrTx/>
                        <a:buSzTx/>
                        <a:buFont typeface="Arial" pitchFamily="34" charset="0"/>
                        <a:buChar char="•"/>
                        <a:defRPr/>
                      </a:pPr>
                      <a:r>
                        <a:rPr kumimoji="0" lang="en-US" sz="1200" b="0" i="0" u="none" strike="noStrike" kern="1200" cap="none" spc="0" normalizeH="0" baseline="0" noProof="0">
                          <a:ln>
                            <a:noFill/>
                          </a:ln>
                          <a:solidFill>
                            <a:prstClr val="white"/>
                          </a:solidFill>
                          <a:effectLst/>
                          <a:uLnTx/>
                          <a:uFillTx/>
                          <a:latin typeface="EYInterstate Light"/>
                          <a:ea typeface="+mn-ea"/>
                          <a:cs typeface="+mn-cs"/>
                        </a:rPr>
                        <a:t>Text</a:t>
                      </a:r>
                    </a:p>
                  </a:txBody>
                  <a:tcPr>
                    <a:lnL w="12700" cap="flat" cmpd="sng" algn="ctr">
                      <a:noFill/>
                      <a:prstDash val="solid"/>
                      <a:round/>
                      <a:headEnd type="none" w="med" len="med"/>
                      <a:tailEnd type="none" w="med" len="med"/>
                    </a:lnL>
                    <a:lnT w="12700" cap="flat" cmpd="sng" algn="ctr">
                      <a:solidFill>
                        <a:schemeClr val="bg2">
                          <a:lumMod val="50000"/>
                          <a:lumOff val="50000"/>
                        </a:schemeClr>
                      </a:solidFill>
                      <a:prstDash val="solid"/>
                      <a:round/>
                      <a:headEnd type="none" w="med" len="med"/>
                      <a:tailEnd type="none" w="med" len="med"/>
                    </a:lnT>
                    <a:lnB w="12700" cap="flat" cmpd="sng" algn="ctr">
                      <a:solidFill>
                        <a:schemeClr val="bg2">
                          <a:lumMod val="50000"/>
                          <a:lumOff val="50000"/>
                        </a:schemeClr>
                      </a:solidFill>
                      <a:prstDash val="solid"/>
                      <a:round/>
                      <a:headEnd type="none" w="med" len="med"/>
                      <a:tailEnd type="none" w="med" len="med"/>
                    </a:lnB>
                    <a:solidFill>
                      <a:schemeClr val="tx2">
                        <a:alpha val="13323"/>
                      </a:schemeClr>
                    </a:solidFill>
                  </a:tcPr>
                </a:tc>
                <a:extLst>
                  <a:ext uri="{0D108BD9-81ED-4DB2-BD59-A6C34878D82A}">
                    <a16:rowId xmlns:a16="http://schemas.microsoft.com/office/drawing/2014/main" val="66153083"/>
                  </a:ext>
                </a:extLst>
              </a:tr>
              <a:tr h="742664">
                <a:tc>
                  <a:txBody>
                    <a:bodyPr/>
                    <a:lstStyle/>
                    <a:p>
                      <a:r>
                        <a:rPr lang="en-US" sz="1200" b="1">
                          <a:solidFill>
                            <a:schemeClr val="bg1"/>
                          </a:solidFill>
                        </a:rPr>
                        <a:t>Text</a:t>
                      </a:r>
                    </a:p>
                  </a:txBody>
                  <a:tcPr>
                    <a:lnR w="12700" cap="flat" cmpd="sng" algn="ctr">
                      <a:noFill/>
                      <a:prstDash val="solid"/>
                      <a:round/>
                      <a:headEnd type="none" w="med" len="med"/>
                      <a:tailEnd type="none" w="med" len="med"/>
                    </a:lnR>
                    <a:lnT w="12700" cap="flat" cmpd="sng" algn="ctr">
                      <a:solidFill>
                        <a:schemeClr val="bg2">
                          <a:lumMod val="50000"/>
                          <a:lumOff val="50000"/>
                        </a:schemeClr>
                      </a:solidFill>
                      <a:prstDash val="solid"/>
                      <a:round/>
                      <a:headEnd type="none" w="med" len="med"/>
                      <a:tailEnd type="none" w="med" len="med"/>
                    </a:lnT>
                    <a:lnB w="12700" cap="flat" cmpd="sng" algn="ctr">
                      <a:solidFill>
                        <a:schemeClr val="bg2">
                          <a:lumMod val="50000"/>
                          <a:lumOff val="50000"/>
                        </a:schemeClr>
                      </a:solidFill>
                      <a:prstDash val="solid"/>
                      <a:round/>
                      <a:headEnd type="none" w="med" len="med"/>
                      <a:tailEnd type="none" w="med" len="med"/>
                    </a:lnB>
                  </a:tcPr>
                </a:tc>
                <a:tc>
                  <a:txBody>
                    <a:bodyPr/>
                    <a:lstStyle/>
                    <a:p>
                      <a:pPr marL="171450" marR="0" lvl="0" indent="-171450" algn="l" defTabSz="913760" rtl="0" eaLnBrk="1" fontAlgn="auto" latinLnBrk="0" hangingPunct="1">
                        <a:lnSpc>
                          <a:spcPct val="100000"/>
                        </a:lnSpc>
                        <a:spcBef>
                          <a:spcPct val="0"/>
                        </a:spcBef>
                        <a:spcAft>
                          <a:spcPct val="0"/>
                        </a:spcAft>
                        <a:buClrTx/>
                        <a:buSzTx/>
                        <a:buFont typeface="Arial" pitchFamily="34" charset="0"/>
                        <a:buChar char="•"/>
                        <a:defRPr/>
                      </a:pPr>
                      <a:r>
                        <a:rPr kumimoji="0" lang="en-US" sz="1200" b="0" i="0" u="none" strike="noStrike" kern="1200" cap="none" spc="0" normalizeH="0" baseline="0" noProof="0">
                          <a:ln>
                            <a:noFill/>
                          </a:ln>
                          <a:solidFill>
                            <a:prstClr val="white"/>
                          </a:solidFill>
                          <a:effectLst/>
                          <a:uLnTx/>
                          <a:uFillTx/>
                          <a:latin typeface="EYInterstate Light"/>
                          <a:ea typeface="+mn-ea"/>
                          <a:cs typeface="+mn-cs"/>
                        </a:rPr>
                        <a:t>Tex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50000"/>
                          <a:lumOff val="50000"/>
                        </a:schemeClr>
                      </a:solidFill>
                      <a:prstDash val="solid"/>
                      <a:round/>
                      <a:headEnd type="none" w="med" len="med"/>
                      <a:tailEnd type="none" w="med" len="med"/>
                    </a:lnT>
                    <a:lnB w="12700" cap="flat" cmpd="sng" algn="ctr">
                      <a:solidFill>
                        <a:schemeClr val="bg2">
                          <a:lumMod val="50000"/>
                          <a:lumOff val="50000"/>
                        </a:schemeClr>
                      </a:solidFill>
                      <a:prstDash val="solid"/>
                      <a:round/>
                      <a:headEnd type="none" w="med" len="med"/>
                      <a:tailEnd type="none" w="med" len="med"/>
                    </a:lnB>
                  </a:tcPr>
                </a:tc>
                <a:tc>
                  <a:txBody>
                    <a:bodyPr/>
                    <a:lstStyle/>
                    <a:p>
                      <a:pPr marL="171450" marR="0" lvl="0" indent="-171450" algn="l" defTabSz="913760" rtl="0" eaLnBrk="1" fontAlgn="auto" latinLnBrk="0" hangingPunct="1">
                        <a:lnSpc>
                          <a:spcPct val="100000"/>
                        </a:lnSpc>
                        <a:spcBef>
                          <a:spcPct val="0"/>
                        </a:spcBef>
                        <a:spcAft>
                          <a:spcPct val="0"/>
                        </a:spcAft>
                        <a:buClrTx/>
                        <a:buSzTx/>
                        <a:buFont typeface="Arial" pitchFamily="34" charset="0"/>
                        <a:buChar char="•"/>
                        <a:defRPr/>
                      </a:pPr>
                      <a:r>
                        <a:rPr kumimoji="0" lang="en-US" sz="1200" b="0" i="0" u="none" strike="noStrike" kern="1200" cap="none" spc="0" normalizeH="0" baseline="0" noProof="0">
                          <a:ln>
                            <a:noFill/>
                          </a:ln>
                          <a:solidFill>
                            <a:prstClr val="white"/>
                          </a:solidFill>
                          <a:effectLst/>
                          <a:uLnTx/>
                          <a:uFillTx/>
                          <a:latin typeface="EYInterstate Light"/>
                          <a:ea typeface="+mn-ea"/>
                          <a:cs typeface="+mn-cs"/>
                        </a:rPr>
                        <a:t>Text</a:t>
                      </a:r>
                    </a:p>
                  </a:txBody>
                  <a:tcPr>
                    <a:lnL w="12700" cap="flat" cmpd="sng" algn="ctr">
                      <a:noFill/>
                      <a:prstDash val="solid"/>
                      <a:round/>
                      <a:headEnd type="none" w="med" len="med"/>
                      <a:tailEnd type="none" w="med" len="med"/>
                    </a:lnL>
                    <a:lnT w="12700" cap="flat" cmpd="sng" algn="ctr">
                      <a:solidFill>
                        <a:schemeClr val="bg2">
                          <a:lumMod val="50000"/>
                          <a:lumOff val="50000"/>
                        </a:schemeClr>
                      </a:solidFill>
                      <a:prstDash val="solid"/>
                      <a:round/>
                      <a:headEnd type="none" w="med" len="med"/>
                      <a:tailEnd type="none" w="med" len="med"/>
                    </a:lnT>
                    <a:lnB w="12700" cap="flat" cmpd="sng" algn="ctr">
                      <a:solidFill>
                        <a:schemeClr val="bg2">
                          <a:lumMod val="50000"/>
                          <a:lumOff val="50000"/>
                        </a:schemeClr>
                      </a:solidFill>
                      <a:prstDash val="solid"/>
                      <a:round/>
                      <a:headEnd type="none" w="med" len="med"/>
                      <a:tailEnd type="none" w="med" len="med"/>
                    </a:lnB>
                    <a:solidFill>
                      <a:schemeClr val="tx2">
                        <a:alpha val="13323"/>
                      </a:schemeClr>
                    </a:solidFill>
                  </a:tcPr>
                </a:tc>
                <a:extLst>
                  <a:ext uri="{0D108BD9-81ED-4DB2-BD59-A6C34878D82A}">
                    <a16:rowId xmlns:a16="http://schemas.microsoft.com/office/drawing/2014/main" val="1921990030"/>
                  </a:ext>
                </a:extLst>
              </a:tr>
              <a:tr h="742664">
                <a:tc>
                  <a:txBody>
                    <a:bodyPr/>
                    <a:lstStyle/>
                    <a:p>
                      <a:r>
                        <a:rPr lang="en-US" sz="1200" b="1">
                          <a:solidFill>
                            <a:schemeClr val="bg1"/>
                          </a:solidFill>
                        </a:rPr>
                        <a:t>Text</a:t>
                      </a:r>
                    </a:p>
                  </a:txBody>
                  <a:tcPr>
                    <a:lnR w="12700" cap="flat" cmpd="sng" algn="ctr">
                      <a:noFill/>
                      <a:prstDash val="solid"/>
                      <a:round/>
                      <a:headEnd type="none" w="med" len="med"/>
                      <a:tailEnd type="none" w="med" len="med"/>
                    </a:lnR>
                    <a:lnT w="12700" cap="flat" cmpd="sng" algn="ctr">
                      <a:solidFill>
                        <a:schemeClr val="bg2">
                          <a:lumMod val="50000"/>
                          <a:lumOff val="50000"/>
                        </a:schemeClr>
                      </a:solidFill>
                      <a:prstDash val="solid"/>
                      <a:round/>
                      <a:headEnd type="none" w="med" len="med"/>
                      <a:tailEnd type="none" w="med" len="med"/>
                    </a:lnT>
                  </a:tcPr>
                </a:tc>
                <a:tc>
                  <a:txBody>
                    <a:bodyPr/>
                    <a:lstStyle/>
                    <a:p>
                      <a:pPr marL="171450" marR="0" lvl="0" indent="-171450" algn="l" defTabSz="913760" rtl="0" eaLnBrk="1" fontAlgn="auto" latinLnBrk="0" hangingPunct="1">
                        <a:lnSpc>
                          <a:spcPct val="100000"/>
                        </a:lnSpc>
                        <a:spcBef>
                          <a:spcPct val="0"/>
                        </a:spcBef>
                        <a:spcAft>
                          <a:spcPct val="0"/>
                        </a:spcAft>
                        <a:buClrTx/>
                        <a:buSzTx/>
                        <a:buFont typeface="Arial" pitchFamily="34" charset="0"/>
                        <a:buChar char="•"/>
                        <a:defRPr/>
                      </a:pPr>
                      <a:r>
                        <a:rPr kumimoji="0" lang="en-US" sz="1200" b="0" i="0" u="none" strike="noStrike" kern="1200" cap="none" spc="0" normalizeH="0" baseline="0" noProof="0">
                          <a:ln>
                            <a:noFill/>
                          </a:ln>
                          <a:solidFill>
                            <a:prstClr val="white"/>
                          </a:solidFill>
                          <a:effectLst/>
                          <a:uLnTx/>
                          <a:uFillTx/>
                          <a:latin typeface="EYInterstate Light"/>
                          <a:ea typeface="+mn-ea"/>
                          <a:cs typeface="+mn-cs"/>
                        </a:rPr>
                        <a:t>Tex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50000"/>
                          <a:lumOff val="50000"/>
                        </a:schemeClr>
                      </a:solidFill>
                      <a:prstDash val="solid"/>
                      <a:round/>
                      <a:headEnd type="none" w="med" len="med"/>
                      <a:tailEnd type="none" w="med" len="med"/>
                    </a:lnT>
                  </a:tcPr>
                </a:tc>
                <a:tc>
                  <a:txBody>
                    <a:bodyPr/>
                    <a:lstStyle/>
                    <a:p>
                      <a:pPr marL="171450" marR="0" lvl="0" indent="-171450" algn="l" defTabSz="913760" rtl="0" eaLnBrk="1" fontAlgn="auto" latinLnBrk="0" hangingPunct="1">
                        <a:lnSpc>
                          <a:spcPct val="100000"/>
                        </a:lnSpc>
                        <a:spcBef>
                          <a:spcPct val="0"/>
                        </a:spcBef>
                        <a:spcAft>
                          <a:spcPct val="0"/>
                        </a:spcAft>
                        <a:buClrTx/>
                        <a:buSzTx/>
                        <a:buFont typeface="Arial" pitchFamily="34" charset="0"/>
                        <a:buChar char="•"/>
                        <a:defRPr/>
                      </a:pPr>
                      <a:r>
                        <a:rPr kumimoji="0" lang="en-US" sz="1200" b="0" i="0" u="none" strike="noStrike" kern="1200" cap="none" spc="0" normalizeH="0" baseline="0" noProof="0">
                          <a:ln>
                            <a:noFill/>
                          </a:ln>
                          <a:solidFill>
                            <a:prstClr val="white"/>
                          </a:solidFill>
                          <a:effectLst/>
                          <a:uLnTx/>
                          <a:uFillTx/>
                          <a:latin typeface="EYInterstate Light"/>
                          <a:ea typeface="+mn-ea"/>
                          <a:cs typeface="+mn-cs"/>
                        </a:rPr>
                        <a:t>Text</a:t>
                      </a:r>
                    </a:p>
                  </a:txBody>
                  <a:tcPr>
                    <a:lnL w="12700" cap="flat" cmpd="sng" algn="ctr">
                      <a:noFill/>
                      <a:prstDash val="solid"/>
                      <a:round/>
                      <a:headEnd type="none" w="med" len="med"/>
                      <a:tailEnd type="none" w="med" len="med"/>
                    </a:lnL>
                    <a:lnT w="12700" cap="flat" cmpd="sng" algn="ctr">
                      <a:solidFill>
                        <a:schemeClr val="bg2">
                          <a:lumMod val="50000"/>
                          <a:lumOff val="50000"/>
                        </a:schemeClr>
                      </a:solidFill>
                      <a:prstDash val="solid"/>
                      <a:round/>
                      <a:headEnd type="none" w="med" len="med"/>
                      <a:tailEnd type="none" w="med" len="med"/>
                    </a:lnT>
                    <a:solidFill>
                      <a:schemeClr val="tx2">
                        <a:alpha val="13323"/>
                      </a:schemeClr>
                    </a:solidFill>
                  </a:tcPr>
                </a:tc>
                <a:extLst>
                  <a:ext uri="{0D108BD9-81ED-4DB2-BD59-A6C34878D82A}">
                    <a16:rowId xmlns:a16="http://schemas.microsoft.com/office/drawing/2014/main" val="2366137029"/>
                  </a:ext>
                </a:extLst>
              </a:tr>
            </a:tbl>
          </a:graphicData>
        </a:graphic>
      </p:graphicFrame>
      <p:cxnSp>
        <p:nvCxnSpPr>
          <p:cNvPr id="7" name="Straight Connector 6">
            <a:extLst>
              <a:ext uri="{FF2B5EF4-FFF2-40B4-BE49-F238E27FC236}">
                <a16:creationId xmlns:a16="http://schemas.microsoft.com/office/drawing/2014/main" id="{8AFCB20E-B625-8C76-B3D0-9B202E318CCD}"/>
              </a:ext>
            </a:extLst>
          </p:cNvPr>
          <p:cNvCxnSpPr/>
          <p:nvPr userDrawn="1"/>
        </p:nvCxnSpPr>
        <p:spPr>
          <a:xfrm>
            <a:off x="609601" y="885080"/>
            <a:ext cx="10972800" cy="0"/>
          </a:xfrm>
          <a:prstGeom prst="line">
            <a:avLst/>
          </a:prstGeom>
          <a:ln w="9525">
            <a:solidFill>
              <a:srgbClr val="FFE7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4784081"/>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ver Letter">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DA86DF42-7A6A-CE49-32BD-394F2B5C4E37}"/>
              </a:ext>
            </a:extLst>
          </p:cNvPr>
          <p:cNvSpPr>
            <a:spLocks noGrp="1"/>
          </p:cNvSpPr>
          <p:nvPr>
            <p:ph type="body" sz="quarter" idx="14" hasCustomPrompt="1"/>
          </p:nvPr>
        </p:nvSpPr>
        <p:spPr>
          <a:xfrm>
            <a:off x="2697952" y="306249"/>
            <a:ext cx="8978900" cy="5716863"/>
          </a:xfrm>
        </p:spPr>
        <p:txBody>
          <a:bodyPr/>
          <a:lstStyle>
            <a:lvl1pPr marL="0" indent="0">
              <a:buNone/>
              <a:defRPr sz="1100"/>
            </a:lvl1pPr>
          </a:lstStyle>
          <a:p>
            <a:pPr lvl="0"/>
            <a:r>
              <a:rPr lang="en-US"/>
              <a:t>Cover letter text</a:t>
            </a:r>
          </a:p>
        </p:txBody>
      </p:sp>
      <p:sp>
        <p:nvSpPr>
          <p:cNvPr id="12" name="Picture Placeholder 11">
            <a:extLst>
              <a:ext uri="{FF2B5EF4-FFF2-40B4-BE49-F238E27FC236}">
                <a16:creationId xmlns:a16="http://schemas.microsoft.com/office/drawing/2014/main" id="{84E85F55-5800-073D-5A26-C31562867662}"/>
              </a:ext>
            </a:extLst>
          </p:cNvPr>
          <p:cNvSpPr>
            <a:spLocks noGrp="1"/>
          </p:cNvSpPr>
          <p:nvPr>
            <p:ph type="pic" sz="quarter" idx="13" hasCustomPrompt="1"/>
          </p:nvPr>
        </p:nvSpPr>
        <p:spPr>
          <a:xfrm>
            <a:off x="0" y="1455739"/>
            <a:ext cx="2428875" cy="5402262"/>
          </a:xfrm>
        </p:spPr>
        <p:txBody>
          <a:bodyPr/>
          <a:lstStyle>
            <a:lvl1pPr marL="0" indent="0">
              <a:buNone/>
              <a:defRPr sz="100"/>
            </a:lvl1pPr>
          </a:lstStyle>
          <a:p>
            <a:r>
              <a:rPr lang="es-ES_tradnl" dirty="0"/>
              <a:t>.</a:t>
            </a:r>
            <a:endParaRPr lang="en-US" dirty="0"/>
          </a:p>
        </p:txBody>
      </p:sp>
      <p:sp>
        <p:nvSpPr>
          <p:cNvPr id="8" name="Rectangle 7">
            <a:extLst>
              <a:ext uri="{FF2B5EF4-FFF2-40B4-BE49-F238E27FC236}">
                <a16:creationId xmlns:a16="http://schemas.microsoft.com/office/drawing/2014/main" id="{4E66C163-6E68-22EB-3F5A-560D5C1E5BF4}"/>
              </a:ext>
            </a:extLst>
          </p:cNvPr>
          <p:cNvSpPr/>
          <p:nvPr userDrawn="1"/>
        </p:nvSpPr>
        <p:spPr>
          <a:xfrm>
            <a:off x="45638" y="2021080"/>
            <a:ext cx="2411076" cy="4848449"/>
          </a:xfrm>
          <a:prstGeom prst="rect">
            <a:avLst/>
          </a:prstGeom>
          <a:solidFill>
            <a:srgbClr val="2E2E38">
              <a:alpha val="8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7" dirty="0">
              <a:solidFill>
                <a:schemeClr val="tx1"/>
              </a:solidFill>
            </a:endParaRPr>
          </a:p>
        </p:txBody>
      </p:sp>
      <p:cxnSp>
        <p:nvCxnSpPr>
          <p:cNvPr id="9" name="Straight Connector 8">
            <a:extLst>
              <a:ext uri="{FF2B5EF4-FFF2-40B4-BE49-F238E27FC236}">
                <a16:creationId xmlns:a16="http://schemas.microsoft.com/office/drawing/2014/main" id="{10B672B6-DF6B-52FF-08D0-2FD638F99953}"/>
              </a:ext>
            </a:extLst>
          </p:cNvPr>
          <p:cNvCxnSpPr/>
          <p:nvPr userDrawn="1"/>
        </p:nvCxnSpPr>
        <p:spPr>
          <a:xfrm>
            <a:off x="196526" y="2009553"/>
            <a:ext cx="2109301" cy="0"/>
          </a:xfrm>
          <a:prstGeom prst="line">
            <a:avLst/>
          </a:prstGeom>
          <a:ln w="9525">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10C2450D-82A7-474B-ED50-C2C500B14553}"/>
              </a:ext>
            </a:extLst>
          </p:cNvPr>
          <p:cNvSpPr/>
          <p:nvPr userDrawn="1"/>
        </p:nvSpPr>
        <p:spPr>
          <a:xfrm>
            <a:off x="0" y="-1"/>
            <a:ext cx="2466753" cy="2009553"/>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7">
              <a:solidFill>
                <a:schemeClr val="tx1"/>
              </a:solidFill>
            </a:endParaRPr>
          </a:p>
        </p:txBody>
      </p:sp>
      <p:pic>
        <p:nvPicPr>
          <p:cNvPr id="13" name="Picture 12">
            <a:extLst>
              <a:ext uri="{FF2B5EF4-FFF2-40B4-BE49-F238E27FC236}">
                <a16:creationId xmlns:a16="http://schemas.microsoft.com/office/drawing/2014/main" id="{AF485A0E-93F6-5F4E-EEB1-C6CBC5F40A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1238" y="157110"/>
            <a:ext cx="780099" cy="913448"/>
          </a:xfrm>
          <a:prstGeom prst="rect">
            <a:avLst/>
          </a:prstGeom>
        </p:spPr>
      </p:pic>
    </p:spTree>
    <p:extLst>
      <p:ext uri="{BB962C8B-B14F-4D97-AF65-F5344CB8AC3E}">
        <p14:creationId xmlns:p14="http://schemas.microsoft.com/office/powerpoint/2010/main" val="283822247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7" y="2851522"/>
            <a:ext cx="4445485" cy="1202318"/>
          </a:xfrm>
        </p:spPr>
        <p:txBody>
          <a:bodyPr vert="horz" lIns="0" tIns="0" rIns="0" bIns="0" rtlCol="0" anchor="ctr" anchorCtr="0">
            <a:noAutofit/>
          </a:bodyPr>
          <a:lstStyle>
            <a:lvl1pPr marL="0" indent="0">
              <a:buNone/>
              <a:defRPr kumimoji="0" lang="en-IN" sz="3597" b="0" i="0" u="none" strike="noStrike" cap="none" spc="0" normalizeH="0" baseline="0">
                <a:ln>
                  <a:noFill/>
                </a:ln>
                <a:solidFill>
                  <a:srgbClr val="FFFFFF"/>
                </a:solidFill>
                <a:effectLst/>
                <a:uLnTx/>
                <a:uFillTx/>
                <a:latin typeface="EYInterstate Light" panose="02000506000000020004" pitchFamily="2" charset="0"/>
                <a:ea typeface="+mj-ea"/>
                <a:cs typeface="+mj-cs"/>
              </a:defRPr>
            </a:lvl1pPr>
          </a:lstStyle>
          <a:p>
            <a:pPr marL="356367" marR="0" lvl="0" indent="-356367" defTabSz="1007182" fontAlgn="auto">
              <a:lnSpc>
                <a:spcPct val="100000"/>
              </a:lnSpc>
              <a:spcBef>
                <a:spcPct val="0"/>
              </a:spcBef>
              <a:spcAft>
                <a:spcPct val="0"/>
              </a:spcAft>
              <a:buClrTx/>
              <a:buSzTx/>
            </a:pPr>
            <a:r>
              <a:rPr lang="en-US"/>
              <a:t>Section title</a:t>
            </a:r>
            <a:endParaRPr lang="en-IN"/>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7F09404F-A2C1-4DEE-AAD9-EE60EA215A99}" type="datetime3">
              <a:rPr lang="en-US" smtClean="0"/>
              <a:t>11 May 2024</a:t>
            </a:fld>
            <a:endParaRPr lang="en-IN"/>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t>‹#›</a:t>
            </a:fld>
            <a:endParaRPr/>
          </a:p>
        </p:txBody>
      </p:sp>
    </p:spTree>
    <p:extLst>
      <p:ext uri="{BB962C8B-B14F-4D97-AF65-F5344CB8AC3E}">
        <p14:creationId xmlns:p14="http://schemas.microsoft.com/office/powerpoint/2010/main" val="1721094763"/>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hasCustomPrompt="1"/>
          </p:nvPr>
        </p:nvSpPr>
        <p:spPr>
          <a:xfrm>
            <a:off x="6223938" y="0"/>
            <a:ext cx="5968062" cy="6858000"/>
          </a:xfrm>
        </p:spPr>
        <p:txBody>
          <a:bodyPr/>
          <a:lstStyle>
            <a:lvl1pPr marL="0" indent="0">
              <a:buNone/>
              <a:defRPr sz="100"/>
            </a:lvl1pPr>
          </a:lstStyle>
          <a:p>
            <a:r>
              <a:rPr lang="en-IN" dirty="0"/>
              <a:t>. </a:t>
            </a:r>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4" y="2578743"/>
            <a:ext cx="4535597" cy="1055708"/>
          </a:xfrm>
        </p:spPr>
        <p:txBody>
          <a:bodyPr/>
          <a:lstStyle>
            <a:lvl1pPr marL="0" indent="0">
              <a:buNone/>
              <a:defRPr sz="2998"/>
            </a:lvl1pPr>
          </a:lstStyle>
          <a:p>
            <a:pPr lvl="0"/>
            <a:r>
              <a:rPr lang="en-IN"/>
              <a:t>Section title</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4" y="3840384"/>
            <a:ext cx="4535597" cy="1055708"/>
          </a:xfrm>
        </p:spPr>
        <p:txBody>
          <a:bodyPr/>
          <a:lstStyle>
            <a:lvl1pPr marL="0" indent="0">
              <a:buNone/>
              <a:defRPr sz="1599"/>
            </a:lvl1pPr>
          </a:lstStyle>
          <a:p>
            <a:pPr lvl="0"/>
            <a:r>
              <a:rPr lang="en-IN"/>
              <a:t>Subheading</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11AD075A-FDED-4AB6-B0DF-B89F846A7A21}" type="datetime3">
              <a:rPr lang="en-US" smtClean="0"/>
              <a:t>11 May 2024</a:t>
            </a:fld>
            <a:endParaRPr lang="en-IN"/>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t>‹#›</a:t>
            </a:fld>
            <a:endParaRPr/>
          </a:p>
        </p:txBody>
      </p:sp>
    </p:spTree>
    <p:extLst>
      <p:ext uri="{BB962C8B-B14F-4D97-AF65-F5344CB8AC3E}">
        <p14:creationId xmlns:p14="http://schemas.microsoft.com/office/powerpoint/2010/main" val="4056174540"/>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Quote_Center Aligned">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hasCustomPrompt="1"/>
          </p:nvPr>
        </p:nvSpPr>
        <p:spPr>
          <a:xfrm>
            <a:off x="3451379" y="2060235"/>
            <a:ext cx="5289245" cy="3025522"/>
          </a:xfrm>
        </p:spPr>
        <p:txBody>
          <a:bodyPr lIns="0" tIns="0" rIns="0" bIns="0">
            <a:noAutofit/>
          </a:bodyPr>
          <a:lstStyle>
            <a:lvl1pPr marL="0" indent="0" algn="ctr">
              <a:buNone/>
              <a:defRPr lang="en-US" sz="2798" smtClean="0">
                <a:latin typeface="Georgia" panose="02040502050405020303" pitchFamily="18" charset="0"/>
              </a:defRPr>
            </a:lvl1pPr>
          </a:lstStyle>
          <a:p>
            <a:pPr marL="356367" lvl="0" indent="-356367" algn="ctr">
              <a:spcBef>
                <a:spcPct val="0"/>
              </a:spcBef>
            </a:pPr>
            <a:r>
              <a:rPr lang="en-US"/>
              <a:t>Quote text</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9" y="5506678"/>
            <a:ext cx="5289245" cy="316838"/>
          </a:xfrm>
        </p:spPr>
        <p:txBody>
          <a:bodyPr lIns="0" tIns="0" rIns="0" bIns="0">
            <a:noAutofit/>
          </a:bodyPr>
          <a:lstStyle>
            <a:lvl1pPr marL="0" indent="0" algn="ctr">
              <a:buNone/>
              <a:defRPr lang="en-US" sz="1599" smtClean="0">
                <a:solidFill>
                  <a:srgbClr val="FFE600"/>
                </a:solidFill>
                <a:latin typeface="+mn-lt"/>
              </a:defRPr>
            </a:lvl1pPr>
          </a:lstStyle>
          <a:p>
            <a:pPr marL="356367" lvl="0" indent="-356367" algn="ctr">
              <a:spcBef>
                <a:spcPct val="0"/>
              </a:spcBef>
              <a:spcAft>
                <a:spcPts val="600"/>
              </a:spcAft>
            </a:pPr>
            <a:r>
              <a:rPr lang="en-US"/>
              <a:t>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9" y="5818717"/>
            <a:ext cx="5289245" cy="316838"/>
          </a:xfrm>
        </p:spPr>
        <p:txBody>
          <a:bodyPr vert="horz" lIns="0" tIns="0" rIns="0" bIns="0" rtlCol="0" anchor="t" anchorCtr="0">
            <a:noAutofit/>
          </a:bodyPr>
          <a:lstStyle>
            <a:lvl1pPr marL="0" indent="0" algn="ctr">
              <a:buNone/>
              <a:defRPr lang="en-US" sz="1599" smtClean="0">
                <a:latin typeface="+mn-lt"/>
              </a:defRPr>
            </a:lvl1pPr>
          </a:lstStyle>
          <a:p>
            <a:pPr marL="356367" lvl="0" indent="-356367" algn="ctr">
              <a:spcBef>
                <a:spcPct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p:nvPr userDrawn="1"/>
        </p:nvSpPr>
        <p:spPr>
          <a:xfrm>
            <a:off x="4927416" y="979789"/>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2">
                <a:solidFill>
                  <a:schemeClr val="tx2"/>
                </a:solidFill>
                <a:latin typeface="Georgia" panose="02040502050405020303" pitchFamily="18" charset="0"/>
              </a:rPr>
              <a:t>“ </a:t>
            </a:r>
          </a:p>
        </p:txBody>
      </p:sp>
    </p:spTree>
    <p:extLst>
      <p:ext uri="{BB962C8B-B14F-4D97-AF65-F5344CB8AC3E}">
        <p14:creationId xmlns:p14="http://schemas.microsoft.com/office/powerpoint/2010/main" val="94722452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_Left Aligned">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p:nvPr userDrawn="1"/>
        </p:nvSpPr>
        <p:spPr>
          <a:xfrm>
            <a:off x="477103"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2">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hasCustomPrompt="1"/>
          </p:nvPr>
        </p:nvSpPr>
        <p:spPr>
          <a:xfrm>
            <a:off x="513084" y="2526765"/>
            <a:ext cx="5289245" cy="1800000"/>
          </a:xfrm>
        </p:spPr>
        <p:txBody>
          <a:bodyPr lIns="90000" tIns="46800" rIns="90000" bIns="46800"/>
          <a:lstStyle>
            <a:lvl1pPr marL="0" indent="0">
              <a:buNone/>
              <a:defRPr lang="en-US" sz="2798" smtClean="0">
                <a:latin typeface="Georgia" panose="02040502050405020303" pitchFamily="18" charset="0"/>
              </a:defRPr>
            </a:lvl1pPr>
          </a:lstStyle>
          <a:p>
            <a:pPr marL="356367" lvl="0" indent="-356367">
              <a:spcBef>
                <a:spcPct val="0"/>
              </a:spcBef>
            </a:pPr>
            <a:r>
              <a:rPr lang="en-US"/>
              <a:t>Quote text</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4" y="4632765"/>
            <a:ext cx="5289245" cy="316838"/>
          </a:xfrm>
        </p:spPr>
        <p:txBody>
          <a:bodyPr lIns="90000" tIns="46800" rIns="90000" bIns="46800"/>
          <a:lstStyle>
            <a:lvl1pPr marL="0" indent="0" algn="l" defTabSz="913760" rtl="0" eaLnBrk="1" latinLnBrk="0" hangingPunct="1">
              <a:spcBef>
                <a:spcPct val="0"/>
              </a:spcBef>
              <a:spcAft>
                <a:spcPts val="600"/>
              </a:spcAft>
              <a:buClr>
                <a:schemeClr val="tx2"/>
              </a:buClr>
              <a:buSzPct val="70000"/>
              <a:buFont typeface="Arial" pitchFamily="34" charset="0"/>
              <a:buNone/>
              <a:defRPr lang="en-US" sz="1599" kern="1200" smtClean="0">
                <a:solidFill>
                  <a:schemeClr val="tx2"/>
                </a:solidFill>
                <a:latin typeface="+mn-lt"/>
                <a:ea typeface="+mn-ea"/>
                <a:cs typeface="+mn-cs"/>
              </a:defRPr>
            </a:lvl1pPr>
            <a:lvl2pPr marL="356367"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ct val="0"/>
              </a:spcBef>
              <a:buNone/>
            </a:pPr>
            <a:r>
              <a:rPr lang="en-US"/>
              <a:t>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4" y="4971442"/>
            <a:ext cx="5289245" cy="316838"/>
          </a:xfrm>
        </p:spPr>
        <p:txBody>
          <a:bodyPr lIns="90000" tIns="46800" rIns="90000" bIns="46800"/>
          <a:lstStyle>
            <a:lvl1pPr marL="0" indent="0" algn="l" defTabSz="913760" rtl="0" eaLnBrk="1" latinLnBrk="0" hangingPunct="1">
              <a:spcBef>
                <a:spcPct val="0"/>
              </a:spcBef>
              <a:spcAft>
                <a:spcPts val="600"/>
              </a:spcAft>
              <a:buClr>
                <a:schemeClr val="tx2"/>
              </a:buClr>
              <a:buSzPct val="70000"/>
              <a:buFont typeface="Arial" pitchFamily="34" charset="0"/>
              <a:buNone/>
              <a:defRPr lang="en-US" sz="1599" kern="1200" smtClean="0">
                <a:solidFill>
                  <a:schemeClr val="bg1"/>
                </a:solidFill>
                <a:latin typeface="+mn-lt"/>
                <a:ea typeface="+mn-ea"/>
                <a:cs typeface="+mn-cs"/>
              </a:defRPr>
            </a:lvl1pPr>
            <a:lvl2pPr marL="356367"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ct val="0"/>
              </a:spcBef>
              <a:buNone/>
            </a:pPr>
            <a:r>
              <a:rPr lang="en-US"/>
              <a:t>Job Title</a:t>
            </a:r>
          </a:p>
        </p:txBody>
      </p:sp>
    </p:spTree>
    <p:extLst>
      <p:ext uri="{BB962C8B-B14F-4D97-AF65-F5344CB8AC3E}">
        <p14:creationId xmlns:p14="http://schemas.microsoft.com/office/powerpoint/2010/main" val="17795858"/>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inal legal text_America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666" rtl="0" fontAlgn="base">
              <a:lnSpc>
                <a:spcPct val="100000"/>
              </a:lnSpc>
              <a:spcBef>
                <a:spcPct val="70000"/>
              </a:spcBef>
              <a:spcAft>
                <a:spcPct val="0"/>
              </a:spcAft>
              <a:buSzTx/>
              <a:buNone/>
              <a:defRPr lang="en-US" sz="1199" kern="1200" noProof="0" smtClean="0">
                <a:solidFill>
                  <a:schemeClr val="bg1"/>
                </a:solidFill>
                <a:latin typeface="EYInterstate Light" panose="02000506000000020004" pitchFamily="2" charset="0"/>
                <a:ea typeface="+mn-ea"/>
                <a:cs typeface="Arial" pitchFamily="34" charset="0"/>
              </a:defRPr>
            </a:lvl1pPr>
            <a:lvl2pPr marL="0" indent="0" algn="l" defTabSz="994666" rtl="0" fontAlgn="base">
              <a:lnSpc>
                <a:spcPct val="100000"/>
              </a:lnSpc>
              <a:spcBef>
                <a:spcPct val="0"/>
              </a:spcBef>
              <a:spcAft>
                <a:spcPct val="0"/>
              </a:spcAft>
              <a:buSzTx/>
              <a:buNone/>
              <a:defRPr lang="en-US" sz="900" b="1" kern="1200" noProof="0" smtClean="0">
                <a:solidFill>
                  <a:schemeClr val="bg1"/>
                </a:solidFill>
                <a:latin typeface="EYInterstate Light" panose="02000506000000020004" pitchFamily="2" charset="0"/>
                <a:ea typeface="+mn-ea"/>
                <a:cs typeface="Arial" pitchFamily="34" charset="0"/>
              </a:defRPr>
            </a:lvl2pPr>
            <a:lvl3pPr marL="176090" indent="-176090" algn="l" defTabSz="994666" rtl="0" fontAlgn="base">
              <a:lnSpc>
                <a:spcPct val="100000"/>
              </a:lnSpc>
              <a:spcBef>
                <a:spcPct val="0"/>
              </a:spcBef>
              <a:spcAft>
                <a:spcPct val="0"/>
              </a:spcAft>
              <a:buClr>
                <a:schemeClr val="tx2"/>
              </a:buClr>
              <a:buSzPct val="70000"/>
              <a:buFont typeface="Arial" pitchFamily="34" charset="0"/>
              <a:buChar char="►"/>
              <a:defRPr lang="en-US" sz="900" b="1" kern="1200" noProof="0" smtClean="0">
                <a:solidFill>
                  <a:schemeClr val="bg1"/>
                </a:solidFill>
                <a:latin typeface="EYInterstate Light" panose="02000506000000020004" pitchFamily="2" charset="0"/>
                <a:ea typeface="+mn-ea"/>
                <a:cs typeface="Arial" pitchFamily="34" charset="0"/>
              </a:defRPr>
            </a:lvl3pPr>
            <a:lvl4pPr marL="0" indent="0" algn="l" defTabSz="994666" rtl="0" fontAlgn="base">
              <a:lnSpc>
                <a:spcPct val="100000"/>
              </a:lnSpc>
              <a:spcBef>
                <a:spcPct val="0"/>
              </a:spcBef>
              <a:spcAft>
                <a:spcPct val="0"/>
              </a:spcAft>
              <a:buSzTx/>
              <a:buNone/>
              <a:defRPr lang="en-US" sz="800" kern="1200" noProof="0" smtClean="0">
                <a:solidFill>
                  <a:schemeClr val="bg1"/>
                </a:solidFill>
                <a:latin typeface="EYInterstate Light" panose="02000506000000020004" pitchFamily="2" charset="0"/>
                <a:ea typeface="+mn-ea"/>
                <a:cs typeface="Arial" pitchFamily="34" charset="0"/>
              </a:defRPr>
            </a:lvl4pPr>
            <a:lvl5pPr marL="188781" indent="-188781" algn="l" defTabSz="994666" rtl="0" fontAlgn="base">
              <a:lnSpc>
                <a:spcPct val="100000"/>
              </a:lnSpc>
              <a:spcBef>
                <a:spcPct val="0"/>
              </a:spcBef>
              <a:spcAft>
                <a:spcPct val="0"/>
              </a:spcAft>
              <a:buClr>
                <a:schemeClr val="tx2"/>
              </a:buClr>
              <a:buSzPct val="70000"/>
              <a:buFont typeface="Arial" pitchFamily="34" charset="0"/>
              <a:buChar char="►"/>
              <a:defRPr lang="en-US" sz="800" kern="1200" noProof="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3647291"/>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inal legal text_APAC">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1"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666" rtl="0" fontAlgn="base">
              <a:lnSpc>
                <a:spcPct val="100000"/>
              </a:lnSpc>
              <a:spcBef>
                <a:spcPct val="70000"/>
              </a:spcBef>
              <a:spcAft>
                <a:spcPct val="0"/>
              </a:spcAft>
              <a:buSzTx/>
              <a:buNone/>
              <a:defRPr lang="en-US" sz="1199" kern="1200" noProof="0" smtClean="0">
                <a:solidFill>
                  <a:schemeClr val="bg1"/>
                </a:solidFill>
                <a:latin typeface="EYInterstate Light" panose="02000506000000020004" pitchFamily="2" charset="0"/>
                <a:ea typeface="+mn-ea"/>
                <a:cs typeface="Arial" pitchFamily="34" charset="0"/>
              </a:defRPr>
            </a:lvl1pPr>
            <a:lvl2pPr marL="0" indent="0" algn="l" defTabSz="994666" rtl="0" fontAlgn="base">
              <a:lnSpc>
                <a:spcPct val="100000"/>
              </a:lnSpc>
              <a:spcBef>
                <a:spcPct val="0"/>
              </a:spcBef>
              <a:spcAft>
                <a:spcPct val="0"/>
              </a:spcAft>
              <a:buSzTx/>
              <a:buNone/>
              <a:defRPr lang="en-US" sz="900" b="1" kern="1200" noProof="0" smtClean="0">
                <a:solidFill>
                  <a:schemeClr val="bg1"/>
                </a:solidFill>
                <a:latin typeface="EYInterstate Light" panose="02000506000000020004" pitchFamily="2" charset="0"/>
                <a:ea typeface="+mn-ea"/>
                <a:cs typeface="Arial" pitchFamily="34" charset="0"/>
              </a:defRPr>
            </a:lvl2pPr>
            <a:lvl3pPr marL="176090" indent="-176090" algn="l" defTabSz="994666" rtl="0" fontAlgn="base">
              <a:lnSpc>
                <a:spcPct val="100000"/>
              </a:lnSpc>
              <a:spcBef>
                <a:spcPct val="0"/>
              </a:spcBef>
              <a:spcAft>
                <a:spcPct val="0"/>
              </a:spcAft>
              <a:buClr>
                <a:schemeClr val="tx2"/>
              </a:buClr>
              <a:buSzPct val="70000"/>
              <a:buFont typeface="Arial" pitchFamily="34" charset="0"/>
              <a:buChar char="►"/>
              <a:defRPr lang="en-US" sz="900" b="1" kern="1200" noProof="0" smtClean="0">
                <a:solidFill>
                  <a:schemeClr val="bg1"/>
                </a:solidFill>
                <a:latin typeface="EYInterstate Light" panose="02000506000000020004" pitchFamily="2" charset="0"/>
                <a:ea typeface="+mn-ea"/>
                <a:cs typeface="Arial" pitchFamily="34" charset="0"/>
              </a:defRPr>
            </a:lvl3pPr>
            <a:lvl4pPr marL="0" indent="0" algn="l" defTabSz="994666" rtl="0" fontAlgn="base">
              <a:lnSpc>
                <a:spcPct val="100000"/>
              </a:lnSpc>
              <a:spcBef>
                <a:spcPct val="0"/>
              </a:spcBef>
              <a:spcAft>
                <a:spcPct val="0"/>
              </a:spcAft>
              <a:buSzTx/>
              <a:buNone/>
              <a:defRPr lang="en-US" sz="800" kern="1200" noProof="0" smtClean="0">
                <a:solidFill>
                  <a:schemeClr val="bg1"/>
                </a:solidFill>
                <a:latin typeface="EYInterstate Light" panose="02000506000000020004" pitchFamily="2" charset="0"/>
                <a:ea typeface="+mn-ea"/>
                <a:cs typeface="Arial" pitchFamily="34" charset="0"/>
              </a:defRPr>
            </a:lvl4pPr>
            <a:lvl5pPr marL="188781" indent="-188781" algn="l" defTabSz="994666" rtl="0" fontAlgn="base">
              <a:lnSpc>
                <a:spcPct val="100000"/>
              </a:lnSpc>
              <a:spcBef>
                <a:spcPct val="0"/>
              </a:spcBef>
              <a:spcAft>
                <a:spcPct val="0"/>
              </a:spcAft>
              <a:buClr>
                <a:schemeClr val="tx2"/>
              </a:buClr>
              <a:buSzPct val="70000"/>
              <a:buFont typeface="Arial" pitchFamily="34" charset="0"/>
              <a:buChar char="►"/>
              <a:defRPr lang="en-US" sz="800" kern="1200" noProof="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1652697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Final legal text_EMEIA">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9" y="0"/>
            <a:ext cx="12185658"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666" rtl="0" fontAlgn="base">
              <a:lnSpc>
                <a:spcPct val="100000"/>
              </a:lnSpc>
              <a:spcBef>
                <a:spcPct val="70000"/>
              </a:spcBef>
              <a:spcAft>
                <a:spcPct val="0"/>
              </a:spcAft>
              <a:buSzTx/>
              <a:buNone/>
              <a:defRPr lang="en-US" sz="1199" kern="1200" noProof="0" smtClean="0">
                <a:solidFill>
                  <a:schemeClr val="bg1"/>
                </a:solidFill>
                <a:latin typeface="EYInterstate Light" panose="02000506000000020004" pitchFamily="2" charset="0"/>
                <a:ea typeface="+mn-ea"/>
                <a:cs typeface="Arial" pitchFamily="34" charset="0"/>
              </a:defRPr>
            </a:lvl1pPr>
            <a:lvl2pPr marL="0" indent="0" algn="l" defTabSz="994666" rtl="0" fontAlgn="base">
              <a:lnSpc>
                <a:spcPct val="100000"/>
              </a:lnSpc>
              <a:spcBef>
                <a:spcPct val="0"/>
              </a:spcBef>
              <a:spcAft>
                <a:spcPct val="0"/>
              </a:spcAft>
              <a:buSzTx/>
              <a:buNone/>
              <a:defRPr lang="en-US" sz="900" b="1" kern="1200" noProof="0" smtClean="0">
                <a:solidFill>
                  <a:schemeClr val="bg1"/>
                </a:solidFill>
                <a:latin typeface="EYInterstate Light" panose="02000506000000020004" pitchFamily="2" charset="0"/>
                <a:ea typeface="+mn-ea"/>
                <a:cs typeface="Arial" pitchFamily="34" charset="0"/>
              </a:defRPr>
            </a:lvl2pPr>
            <a:lvl3pPr marL="176090" indent="-176090" algn="l" defTabSz="994666" rtl="0" fontAlgn="base">
              <a:lnSpc>
                <a:spcPct val="100000"/>
              </a:lnSpc>
              <a:spcBef>
                <a:spcPct val="0"/>
              </a:spcBef>
              <a:spcAft>
                <a:spcPct val="0"/>
              </a:spcAft>
              <a:buClr>
                <a:schemeClr val="tx2"/>
              </a:buClr>
              <a:buSzPct val="70000"/>
              <a:buFont typeface="Arial" pitchFamily="34" charset="0"/>
              <a:buChar char="►"/>
              <a:defRPr lang="en-US" sz="900" b="1" kern="1200" noProof="0" smtClean="0">
                <a:solidFill>
                  <a:schemeClr val="bg1"/>
                </a:solidFill>
                <a:latin typeface="EYInterstate Light" panose="02000506000000020004" pitchFamily="2" charset="0"/>
                <a:ea typeface="+mn-ea"/>
                <a:cs typeface="Arial" pitchFamily="34" charset="0"/>
              </a:defRPr>
            </a:lvl3pPr>
            <a:lvl4pPr marL="0" indent="0" algn="l" defTabSz="994666" rtl="0" fontAlgn="base">
              <a:lnSpc>
                <a:spcPct val="100000"/>
              </a:lnSpc>
              <a:spcBef>
                <a:spcPct val="0"/>
              </a:spcBef>
              <a:spcAft>
                <a:spcPct val="0"/>
              </a:spcAft>
              <a:buSzTx/>
              <a:buNone/>
              <a:defRPr lang="en-US" sz="800" kern="1200" noProof="0" smtClean="0">
                <a:solidFill>
                  <a:schemeClr val="bg1"/>
                </a:solidFill>
                <a:latin typeface="EYInterstate Light" panose="02000506000000020004" pitchFamily="2" charset="0"/>
                <a:ea typeface="+mn-ea"/>
                <a:cs typeface="Arial" pitchFamily="34" charset="0"/>
              </a:defRPr>
            </a:lvl4pPr>
            <a:lvl5pPr marL="188781" indent="-188781" algn="l" defTabSz="994666" rtl="0" fontAlgn="base">
              <a:lnSpc>
                <a:spcPct val="100000"/>
              </a:lnSpc>
              <a:spcBef>
                <a:spcPct val="0"/>
              </a:spcBef>
              <a:spcAft>
                <a:spcPct val="0"/>
              </a:spcAft>
              <a:buClr>
                <a:schemeClr val="tx2"/>
              </a:buClr>
              <a:buSzPct val="70000"/>
              <a:buFont typeface="Arial" pitchFamily="34" charset="0"/>
              <a:buChar char="►"/>
              <a:defRPr lang="en-US" sz="800" kern="1200" noProof="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26630011"/>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231421"/>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 with Image_Yellow Unfilled">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F486A345-0B8D-C3B5-12AC-1FEC73BC5476}"/>
              </a:ext>
            </a:extLst>
          </p:cNvPr>
          <p:cNvSpPr>
            <a:spLocks noGrp="1"/>
          </p:cNvSpPr>
          <p:nvPr>
            <p:ph type="pic" sz="quarter" idx="10" hasCustomPrompt="1"/>
          </p:nvPr>
        </p:nvSpPr>
        <p:spPr>
          <a:xfrm>
            <a:off x="0" y="0"/>
            <a:ext cx="12192000" cy="6835464"/>
          </a:xfrm>
          <a:solidFill>
            <a:srgbClr val="797991">
              <a:alpha val="18824"/>
            </a:srgbClr>
          </a:solidFill>
        </p:spPr>
        <p:txBody>
          <a:bodyPr/>
          <a:lstStyle>
            <a:lvl1pPr marL="0" indent="0">
              <a:buNone/>
              <a:defRPr sz="100" u="sng"/>
            </a:lvl1pPr>
          </a:lstStyle>
          <a:p>
            <a:r>
              <a:rPr lang="es-ES_tradnl" dirty="0"/>
              <a:t>.</a:t>
            </a:r>
            <a:endParaRPr lang="en-US" dirty="0"/>
          </a:p>
        </p:txBody>
      </p:sp>
      <p:sp>
        <p:nvSpPr>
          <p:cNvPr id="263" name="Title 1">
            <a:extLst>
              <a:ext uri="{FF2B5EF4-FFF2-40B4-BE49-F238E27FC236}">
                <a16:creationId xmlns:a16="http://schemas.microsoft.com/office/drawing/2014/main" id="{3F36D6CC-3534-47CC-AECE-83EDA4639FB5}"/>
              </a:ext>
            </a:extLst>
          </p:cNvPr>
          <p:cNvSpPr>
            <a:spLocks noGrp="1"/>
          </p:cNvSpPr>
          <p:nvPr>
            <p:ph type="ctrTitle" hasCustomPrompt="1"/>
          </p:nvPr>
        </p:nvSpPr>
        <p:spPr>
          <a:xfrm>
            <a:off x="944388" y="2158329"/>
            <a:ext cx="3998354" cy="860400"/>
          </a:xfrm>
          <a:prstGeom prst="rect">
            <a:avLst/>
          </a:prstGeom>
        </p:spPr>
        <p:txBody>
          <a:bodyPr/>
          <a:lstStyle>
            <a:lvl1pPr>
              <a:defRPr sz="2998" b="0">
                <a:solidFill>
                  <a:schemeClr val="bg1"/>
                </a:solidFill>
                <a:latin typeface="EYInterstate Light" panose="02000506000000020004" pitchFamily="2" charset="0"/>
                <a:cs typeface="Arial" pitchFamily="34" charset="0"/>
              </a:defRPr>
            </a:lvl1pPr>
          </a:lstStyle>
          <a:p>
            <a:r>
              <a:rPr lang="en-US"/>
              <a:t>Presentation Tit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hasCustomPrompt="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760" indent="0" algn="ctr">
              <a:buNone/>
              <a:defRPr>
                <a:solidFill>
                  <a:schemeClr val="tx1">
                    <a:tint val="75000"/>
                  </a:schemeClr>
                </a:solidFill>
              </a:defRPr>
            </a:lvl3pPr>
            <a:lvl4pPr marL="1370640" indent="0" algn="ctr">
              <a:buNone/>
              <a:defRPr>
                <a:solidFill>
                  <a:schemeClr val="tx1">
                    <a:tint val="75000"/>
                  </a:schemeClr>
                </a:solidFill>
              </a:defRPr>
            </a:lvl4pPr>
            <a:lvl5pPr marL="1827520" indent="0" algn="ctr">
              <a:buNone/>
              <a:defRPr>
                <a:solidFill>
                  <a:schemeClr val="tx1">
                    <a:tint val="75000"/>
                  </a:schemeClr>
                </a:solidFill>
              </a:defRPr>
            </a:lvl5pPr>
            <a:lvl6pPr marL="2284400" indent="0" algn="ctr">
              <a:buNone/>
              <a:defRPr>
                <a:solidFill>
                  <a:schemeClr val="tx1">
                    <a:tint val="75000"/>
                  </a:schemeClr>
                </a:solidFill>
              </a:defRPr>
            </a:lvl6pPr>
            <a:lvl7pPr marL="2741280" indent="0" algn="ctr">
              <a:buNone/>
              <a:defRPr>
                <a:solidFill>
                  <a:schemeClr val="tx1">
                    <a:tint val="75000"/>
                  </a:schemeClr>
                </a:solidFill>
              </a:defRPr>
            </a:lvl7pPr>
            <a:lvl8pPr marL="3198160" indent="0" algn="ctr">
              <a:buNone/>
              <a:defRPr>
                <a:solidFill>
                  <a:schemeClr val="tx1">
                    <a:tint val="75000"/>
                  </a:schemeClr>
                </a:solidFill>
              </a:defRPr>
            </a:lvl8pPr>
            <a:lvl9pPr marL="3655040" indent="0" algn="ctr">
              <a:buNone/>
              <a:defRPr>
                <a:solidFill>
                  <a:schemeClr val="tx1">
                    <a:tint val="75000"/>
                  </a:schemeClr>
                </a:solidFill>
              </a:defRPr>
            </a:lvl9pPr>
          </a:lstStyle>
          <a:p>
            <a:pPr lvl="0"/>
            <a:r>
              <a:rPr lang="en-US"/>
              <a:t>Subtitle (Date)</a:t>
            </a:r>
            <a:endParaRPr lang="en-GB"/>
          </a:p>
        </p:txBody>
      </p:sp>
      <p:sp>
        <p:nvSpPr>
          <p:cNvPr id="3" name="Date Placeholder 2">
            <a:extLst>
              <a:ext uri="{FF2B5EF4-FFF2-40B4-BE49-F238E27FC236}">
                <a16:creationId xmlns:a16="http://schemas.microsoft.com/office/drawing/2014/main" id="{ACA27E6F-2E64-948D-C46D-DAF519717203}"/>
              </a:ext>
            </a:extLst>
          </p:cNvPr>
          <p:cNvSpPr>
            <a:spLocks noGrp="1"/>
          </p:cNvSpPr>
          <p:nvPr>
            <p:ph type="dt" sz="half" idx="11"/>
          </p:nvPr>
        </p:nvSpPr>
        <p:spPr>
          <a:xfrm>
            <a:off x="956215" y="4041940"/>
            <a:ext cx="3942713" cy="367185"/>
          </a:xfrm>
        </p:spPr>
        <p:txBody>
          <a:bodyPr/>
          <a:lstStyle>
            <a:lvl1pPr>
              <a:defRPr sz="2000" b="1">
                <a:solidFill>
                  <a:schemeClr val="bg1"/>
                </a:solidFill>
              </a:defRPr>
            </a:lvl1pPr>
          </a:lstStyle>
          <a:p>
            <a:fld id="{605C957A-4D39-4AAC-A8BB-0E9BDF0CFC4D}" type="datetime3">
              <a:rPr lang="en-US" smtClean="0"/>
              <a:t>11 May 2024</a:t>
            </a:fld>
            <a:endParaRPr lang="en-US" dirty="0"/>
          </a:p>
        </p:txBody>
      </p:sp>
    </p:spTree>
    <p:extLst>
      <p:ext uri="{BB962C8B-B14F-4D97-AF65-F5344CB8AC3E}">
        <p14:creationId xmlns:p14="http://schemas.microsoft.com/office/powerpoint/2010/main" val="2925781567"/>
      </p:ext>
    </p:extLst>
  </p:cSld>
  <p:clrMapOvr>
    <a:masterClrMapping/>
  </p:clrMapOvr>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63011-A625-A1F6-37AB-A4E0B327807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CB5ACA7-5758-320F-5C03-69ADB40D338C}"/>
              </a:ext>
            </a:extLst>
          </p:cNvPr>
          <p:cNvSpPr>
            <a:spLocks noGrp="1"/>
          </p:cNvSpPr>
          <p:nvPr>
            <p:ph type="dt" sz="half" idx="10"/>
          </p:nvPr>
        </p:nvSpPr>
        <p:spPr/>
        <p:txBody>
          <a:bodyPr/>
          <a:lstStyle/>
          <a:p>
            <a:fld id="{CB3AB2B7-952B-4F3A-A431-5594E7140BC3}" type="datetime3">
              <a:rPr lang="en-US" smtClean="0"/>
              <a:t>11 May 2024</a:t>
            </a:fld>
            <a:endParaRPr lang="en-IN"/>
          </a:p>
        </p:txBody>
      </p:sp>
      <p:sp>
        <p:nvSpPr>
          <p:cNvPr id="4" name="Slide Number Placeholder 3">
            <a:extLst>
              <a:ext uri="{FF2B5EF4-FFF2-40B4-BE49-F238E27FC236}">
                <a16:creationId xmlns:a16="http://schemas.microsoft.com/office/drawing/2014/main" id="{37837241-A87B-831C-B6A4-98ADCE926F31}"/>
              </a:ext>
            </a:extLst>
          </p:cNvPr>
          <p:cNvSpPr>
            <a:spLocks noGrp="1"/>
          </p:cNvSpPr>
          <p:nvPr>
            <p:ph type="sldNum" sz="quarter" idx="11"/>
          </p:nvPr>
        </p:nvSpPr>
        <p:spPr/>
        <p:txBody>
          <a:bodyPr/>
          <a:lstStyle/>
          <a:p>
            <a:r>
              <a:rPr lang="en-GB"/>
              <a:t>Page </a:t>
            </a:r>
            <a:fld id="{F1BC30E3-FFE5-4B91-AA19-87A149EBB9EE}" type="slidenum">
              <a:rPr smtClean="0"/>
              <a:t>‹#›</a:t>
            </a:fld>
            <a:endParaRPr/>
          </a:p>
        </p:txBody>
      </p:sp>
      <p:sp>
        <p:nvSpPr>
          <p:cNvPr id="5" name="Content Placeholder 2">
            <a:extLst>
              <a:ext uri="{FF2B5EF4-FFF2-40B4-BE49-F238E27FC236}">
                <a16:creationId xmlns:a16="http://schemas.microsoft.com/office/drawing/2014/main" id="{8632A0C6-4973-1FFF-2900-E7B9FF5E3876}"/>
              </a:ext>
            </a:extLst>
          </p:cNvPr>
          <p:cNvSpPr>
            <a:spLocks noGrp="1"/>
          </p:cNvSpPr>
          <p:nvPr>
            <p:ph sz="half" idx="1"/>
          </p:nvPr>
        </p:nvSpPr>
        <p:spPr>
          <a:xfrm>
            <a:off x="612329" y="1869442"/>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9">
            <a:extLst>
              <a:ext uri="{FF2B5EF4-FFF2-40B4-BE49-F238E27FC236}">
                <a16:creationId xmlns:a16="http://schemas.microsoft.com/office/drawing/2014/main" id="{450E367F-988D-4E68-62F8-2E0625C317B9}"/>
              </a:ext>
            </a:extLst>
          </p:cNvPr>
          <p:cNvSpPr>
            <a:spLocks noGrp="1"/>
          </p:cNvSpPr>
          <p:nvPr>
            <p:ph type="body" sz="quarter" idx="12" hasCustomPrompt="1"/>
          </p:nvPr>
        </p:nvSpPr>
        <p:spPr>
          <a:xfrm>
            <a:off x="609601" y="1137920"/>
            <a:ext cx="5390400" cy="640800"/>
          </a:xfrm>
        </p:spPr>
        <p:txBody>
          <a:bodyPr anchor="t" anchorCtr="0"/>
          <a:lstStyle>
            <a:lvl1pPr>
              <a:buNone/>
              <a:defRPr b="1">
                <a:solidFill>
                  <a:schemeClr val="bg1"/>
                </a:solidFill>
              </a:defRPr>
            </a:lvl1pPr>
          </a:lstStyle>
          <a:p>
            <a:pPr lvl="0"/>
            <a:r>
              <a:rPr lang="en-GB"/>
              <a:t>Subtitle</a:t>
            </a:r>
          </a:p>
        </p:txBody>
      </p:sp>
      <p:sp>
        <p:nvSpPr>
          <p:cNvPr id="7" name="Picture Placeholder 6">
            <a:extLst>
              <a:ext uri="{FF2B5EF4-FFF2-40B4-BE49-F238E27FC236}">
                <a16:creationId xmlns:a16="http://schemas.microsoft.com/office/drawing/2014/main" id="{630596EF-76AD-5A5E-01A6-323F448FF583}"/>
              </a:ext>
            </a:extLst>
          </p:cNvPr>
          <p:cNvSpPr>
            <a:spLocks noGrp="1"/>
          </p:cNvSpPr>
          <p:nvPr>
            <p:ph type="pic" sz="quarter" idx="17" hasCustomPrompt="1"/>
          </p:nvPr>
        </p:nvSpPr>
        <p:spPr>
          <a:xfrm>
            <a:off x="6189273" y="1137919"/>
            <a:ext cx="5393128" cy="4987597"/>
          </a:xfrm>
        </p:spPr>
        <p:txBody>
          <a:bodyPr/>
          <a:lstStyle>
            <a:lvl1pPr marL="0" indent="0">
              <a:buNone/>
              <a:defRPr sz="100"/>
            </a:lvl1pPr>
          </a:lstStyle>
          <a:p>
            <a:r>
              <a:rPr lang="es-ES_tradnl" dirty="0"/>
              <a:t>.</a:t>
            </a:r>
            <a:endParaRPr lang="en-US" dirty="0"/>
          </a:p>
        </p:txBody>
      </p:sp>
      <p:sp>
        <p:nvSpPr>
          <p:cNvPr id="9" name="Line 10">
            <a:extLst>
              <a:ext uri="{FF2B5EF4-FFF2-40B4-BE49-F238E27FC236}">
                <a16:creationId xmlns:a16="http://schemas.microsoft.com/office/drawing/2014/main" id="{AD7D3E58-A651-6904-8031-E44B9BAB4FFB}"/>
              </a:ext>
            </a:extLst>
          </p:cNvPr>
          <p:cNvSpPr>
            <a:spLocks noChangeShapeType="1"/>
          </p:cNvSpPr>
          <p:nvPr userDrawn="1"/>
        </p:nvSpPr>
        <p:spPr bwMode="auto">
          <a:xfrm>
            <a:off x="608117" y="854782"/>
            <a:ext cx="10974284" cy="0"/>
          </a:xfrm>
          <a:prstGeom prst="line">
            <a:avLst/>
          </a:prstGeom>
          <a:noFill/>
          <a:ln w="19050">
            <a:solidFill>
              <a:schemeClr val="tx2"/>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651184622"/>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5D81E-FEEB-6D34-D864-F6F11B78E18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4C75069-F8DA-AB87-3B14-3C1F611250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2A42FE-7469-1F0E-D506-1F359A8144C8}"/>
              </a:ext>
            </a:extLst>
          </p:cNvPr>
          <p:cNvSpPr>
            <a:spLocks noGrp="1"/>
          </p:cNvSpPr>
          <p:nvPr>
            <p:ph type="dt" sz="half" idx="10"/>
          </p:nvPr>
        </p:nvSpPr>
        <p:spPr/>
        <p:txBody>
          <a:bodyPr/>
          <a:lstStyle/>
          <a:p>
            <a:fld id="{5E6A05FC-F7B3-4FD8-A304-26EEB74A9B98}" type="datetime3">
              <a:rPr lang="en-US" smtClean="0"/>
              <a:t>11 May 2024</a:t>
            </a:fld>
            <a:endParaRPr lang="en-US"/>
          </a:p>
        </p:txBody>
      </p:sp>
      <p:sp>
        <p:nvSpPr>
          <p:cNvPr id="5" name="Footer Placeholder 4">
            <a:extLst>
              <a:ext uri="{FF2B5EF4-FFF2-40B4-BE49-F238E27FC236}">
                <a16:creationId xmlns:a16="http://schemas.microsoft.com/office/drawing/2014/main" id="{B44D2501-C18E-188F-A933-5812ACDC9AC8}"/>
              </a:ext>
            </a:extLst>
          </p:cNvPr>
          <p:cNvSpPr>
            <a:spLocks noGrp="1"/>
          </p:cNvSpPr>
          <p:nvPr>
            <p:ph type="ftr" sz="quarter" idx="11"/>
          </p:nvPr>
        </p:nvSpPr>
        <p:spPr/>
        <p:txBody>
          <a:bodyPr/>
          <a:lstStyle/>
          <a:p>
            <a:r>
              <a:rPr lang="en-US"/>
              <a:t>Presentation Title</a:t>
            </a:r>
          </a:p>
        </p:txBody>
      </p:sp>
      <p:sp>
        <p:nvSpPr>
          <p:cNvPr id="6" name="Slide Number Placeholder 5">
            <a:extLst>
              <a:ext uri="{FF2B5EF4-FFF2-40B4-BE49-F238E27FC236}">
                <a16:creationId xmlns:a16="http://schemas.microsoft.com/office/drawing/2014/main" id="{C8B1118C-DD3B-0B1B-879E-E850D778EA73}"/>
              </a:ext>
            </a:extLst>
          </p:cNvPr>
          <p:cNvSpPr>
            <a:spLocks noGrp="1"/>
          </p:cNvSpPr>
          <p:nvPr>
            <p:ph type="sldNum" sz="quarter" idx="12"/>
          </p:nvPr>
        </p:nvSpPr>
        <p:spPr/>
        <p:txBody>
          <a:bodyPr/>
          <a:lstStyle/>
          <a:p>
            <a:fld id="{D41431EB-2470-4CF7-8AF3-098C09A1AA29}" type="slidenum">
              <a:rPr lang="en-US" smtClean="0"/>
              <a:t>‹#›</a:t>
            </a:fld>
            <a:endParaRPr lang="en-US"/>
          </a:p>
        </p:txBody>
      </p:sp>
    </p:spTree>
    <p:extLst>
      <p:ext uri="{BB962C8B-B14F-4D97-AF65-F5344CB8AC3E}">
        <p14:creationId xmlns:p14="http://schemas.microsoft.com/office/powerpoint/2010/main" val="40289061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0DA02-B7D1-7DFF-F1B8-38B48434C1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7EC828-AF2E-9775-C0A0-05983177D81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7F4E17-8F8D-B2F3-C121-90DD73A0871E}"/>
              </a:ext>
            </a:extLst>
          </p:cNvPr>
          <p:cNvSpPr>
            <a:spLocks noGrp="1"/>
          </p:cNvSpPr>
          <p:nvPr>
            <p:ph type="dt" sz="half" idx="10"/>
          </p:nvPr>
        </p:nvSpPr>
        <p:spPr/>
        <p:txBody>
          <a:bodyPr/>
          <a:lstStyle/>
          <a:p>
            <a:fld id="{A56A9884-3BE0-41B9-BC42-EA6589520E62}" type="datetime3">
              <a:rPr lang="en-US" smtClean="0"/>
              <a:t>11 May 2024</a:t>
            </a:fld>
            <a:endParaRPr lang="en-US"/>
          </a:p>
        </p:txBody>
      </p:sp>
      <p:sp>
        <p:nvSpPr>
          <p:cNvPr id="5" name="Footer Placeholder 4">
            <a:extLst>
              <a:ext uri="{FF2B5EF4-FFF2-40B4-BE49-F238E27FC236}">
                <a16:creationId xmlns:a16="http://schemas.microsoft.com/office/drawing/2014/main" id="{FDA2976E-62A9-938A-9D71-C6C017C2EA37}"/>
              </a:ext>
            </a:extLst>
          </p:cNvPr>
          <p:cNvSpPr>
            <a:spLocks noGrp="1"/>
          </p:cNvSpPr>
          <p:nvPr>
            <p:ph type="ftr" sz="quarter" idx="11"/>
          </p:nvPr>
        </p:nvSpPr>
        <p:spPr/>
        <p:txBody>
          <a:bodyPr/>
          <a:lstStyle/>
          <a:p>
            <a:r>
              <a:rPr lang="en-US"/>
              <a:t>Presentation Title</a:t>
            </a:r>
          </a:p>
        </p:txBody>
      </p:sp>
      <p:sp>
        <p:nvSpPr>
          <p:cNvPr id="6" name="Slide Number Placeholder 5">
            <a:extLst>
              <a:ext uri="{FF2B5EF4-FFF2-40B4-BE49-F238E27FC236}">
                <a16:creationId xmlns:a16="http://schemas.microsoft.com/office/drawing/2014/main" id="{B9A75C69-5510-BD36-AC59-BCCA9A19F679}"/>
              </a:ext>
            </a:extLst>
          </p:cNvPr>
          <p:cNvSpPr>
            <a:spLocks noGrp="1"/>
          </p:cNvSpPr>
          <p:nvPr>
            <p:ph type="sldNum" sz="quarter" idx="12"/>
          </p:nvPr>
        </p:nvSpPr>
        <p:spPr/>
        <p:txBody>
          <a:bodyPr/>
          <a:lstStyle/>
          <a:p>
            <a:fld id="{D41431EB-2470-4CF7-8AF3-098C09A1AA29}" type="slidenum">
              <a:rPr lang="en-US" smtClean="0"/>
              <a:t>‹#›</a:t>
            </a:fld>
            <a:endParaRPr lang="en-US"/>
          </a:p>
        </p:txBody>
      </p:sp>
    </p:spTree>
    <p:extLst>
      <p:ext uri="{BB962C8B-B14F-4D97-AF65-F5344CB8AC3E}">
        <p14:creationId xmlns:p14="http://schemas.microsoft.com/office/powerpoint/2010/main" val="409040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B53A7B-0AEC-8220-5303-27515E2AEE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01D0015-D401-CEC8-7A6B-4B068062C98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5C02012-216A-AEA8-8633-8E62FEAA944D}"/>
              </a:ext>
            </a:extLst>
          </p:cNvPr>
          <p:cNvSpPr>
            <a:spLocks noGrp="1"/>
          </p:cNvSpPr>
          <p:nvPr>
            <p:ph type="dt" sz="half" idx="10"/>
          </p:nvPr>
        </p:nvSpPr>
        <p:spPr/>
        <p:txBody>
          <a:bodyPr/>
          <a:lstStyle/>
          <a:p>
            <a:fld id="{4272F093-98E9-475D-97EE-0A20F704BA15}" type="datetime3">
              <a:rPr lang="en-US" smtClean="0"/>
              <a:t>11 May 2024</a:t>
            </a:fld>
            <a:endParaRPr lang="en-US"/>
          </a:p>
        </p:txBody>
      </p:sp>
      <p:sp>
        <p:nvSpPr>
          <p:cNvPr id="5" name="Footer Placeholder 4">
            <a:extLst>
              <a:ext uri="{FF2B5EF4-FFF2-40B4-BE49-F238E27FC236}">
                <a16:creationId xmlns:a16="http://schemas.microsoft.com/office/drawing/2014/main" id="{B12AF750-E221-2E93-A62E-38CA86F2C4EA}"/>
              </a:ext>
            </a:extLst>
          </p:cNvPr>
          <p:cNvSpPr>
            <a:spLocks noGrp="1"/>
          </p:cNvSpPr>
          <p:nvPr>
            <p:ph type="ftr" sz="quarter" idx="11"/>
          </p:nvPr>
        </p:nvSpPr>
        <p:spPr/>
        <p:txBody>
          <a:bodyPr/>
          <a:lstStyle/>
          <a:p>
            <a:r>
              <a:rPr lang="en-US"/>
              <a:t>Presentation Title</a:t>
            </a:r>
          </a:p>
        </p:txBody>
      </p:sp>
      <p:sp>
        <p:nvSpPr>
          <p:cNvPr id="6" name="Slide Number Placeholder 5">
            <a:extLst>
              <a:ext uri="{FF2B5EF4-FFF2-40B4-BE49-F238E27FC236}">
                <a16:creationId xmlns:a16="http://schemas.microsoft.com/office/drawing/2014/main" id="{CA81A759-222F-F002-6C7A-A7F42ED05729}"/>
              </a:ext>
            </a:extLst>
          </p:cNvPr>
          <p:cNvSpPr>
            <a:spLocks noGrp="1"/>
          </p:cNvSpPr>
          <p:nvPr>
            <p:ph type="sldNum" sz="quarter" idx="12"/>
          </p:nvPr>
        </p:nvSpPr>
        <p:spPr/>
        <p:txBody>
          <a:bodyPr/>
          <a:lstStyle/>
          <a:p>
            <a:fld id="{D41431EB-2470-4CF7-8AF3-098C09A1AA29}" type="slidenum">
              <a:rPr lang="en-US" smtClean="0"/>
              <a:t>‹#›</a:t>
            </a:fld>
            <a:endParaRPr lang="en-US"/>
          </a:p>
        </p:txBody>
      </p:sp>
    </p:spTree>
    <p:extLst>
      <p:ext uri="{BB962C8B-B14F-4D97-AF65-F5344CB8AC3E}">
        <p14:creationId xmlns:p14="http://schemas.microsoft.com/office/powerpoint/2010/main" val="14140346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AEE33A-2D2B-2C82-33C9-42606DBE94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8B7CBFE-4E17-62B1-8908-163404B16BE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153555B-FFEA-2C77-BFA5-123534C338F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FAE6198-7FCF-088F-E0E0-B4130592F58A}"/>
              </a:ext>
            </a:extLst>
          </p:cNvPr>
          <p:cNvSpPr>
            <a:spLocks noGrp="1"/>
          </p:cNvSpPr>
          <p:nvPr>
            <p:ph type="dt" sz="half" idx="10"/>
          </p:nvPr>
        </p:nvSpPr>
        <p:spPr/>
        <p:txBody>
          <a:bodyPr/>
          <a:lstStyle/>
          <a:p>
            <a:fld id="{3459CFC6-025F-4698-8B15-753A64AB8722}" type="datetime3">
              <a:rPr lang="en-US" smtClean="0"/>
              <a:t>11 May 2024</a:t>
            </a:fld>
            <a:endParaRPr lang="en-US"/>
          </a:p>
        </p:txBody>
      </p:sp>
      <p:sp>
        <p:nvSpPr>
          <p:cNvPr id="6" name="Footer Placeholder 5">
            <a:extLst>
              <a:ext uri="{FF2B5EF4-FFF2-40B4-BE49-F238E27FC236}">
                <a16:creationId xmlns:a16="http://schemas.microsoft.com/office/drawing/2014/main" id="{0775D58C-87F9-D492-EA31-6A17EB47FE22}"/>
              </a:ext>
            </a:extLst>
          </p:cNvPr>
          <p:cNvSpPr>
            <a:spLocks noGrp="1"/>
          </p:cNvSpPr>
          <p:nvPr>
            <p:ph type="ftr" sz="quarter" idx="11"/>
          </p:nvPr>
        </p:nvSpPr>
        <p:spPr/>
        <p:txBody>
          <a:bodyPr/>
          <a:lstStyle/>
          <a:p>
            <a:r>
              <a:rPr lang="en-US"/>
              <a:t>Presentation Title</a:t>
            </a:r>
          </a:p>
        </p:txBody>
      </p:sp>
      <p:sp>
        <p:nvSpPr>
          <p:cNvPr id="7" name="Slide Number Placeholder 6">
            <a:extLst>
              <a:ext uri="{FF2B5EF4-FFF2-40B4-BE49-F238E27FC236}">
                <a16:creationId xmlns:a16="http://schemas.microsoft.com/office/drawing/2014/main" id="{7067833A-D066-59DB-0CE4-7880D58D58B5}"/>
              </a:ext>
            </a:extLst>
          </p:cNvPr>
          <p:cNvSpPr>
            <a:spLocks noGrp="1"/>
          </p:cNvSpPr>
          <p:nvPr>
            <p:ph type="sldNum" sz="quarter" idx="12"/>
          </p:nvPr>
        </p:nvSpPr>
        <p:spPr/>
        <p:txBody>
          <a:bodyPr/>
          <a:lstStyle/>
          <a:p>
            <a:fld id="{D41431EB-2470-4CF7-8AF3-098C09A1AA29}" type="slidenum">
              <a:rPr lang="en-US" smtClean="0"/>
              <a:t>‹#›</a:t>
            </a:fld>
            <a:endParaRPr lang="en-US"/>
          </a:p>
        </p:txBody>
      </p:sp>
    </p:spTree>
    <p:extLst>
      <p:ext uri="{BB962C8B-B14F-4D97-AF65-F5344CB8AC3E}">
        <p14:creationId xmlns:p14="http://schemas.microsoft.com/office/powerpoint/2010/main" val="28833312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F5E9D-8B4E-AF05-B99A-E8F1AD3879C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59F0D54-F779-EE37-9EB6-46D3FC38410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F576DD1-38A7-FC7B-106A-E2D82815254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7E6215-4680-B7A6-465D-6797CFAC8A1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A762E0C-F887-8C71-D58B-2434BDE04E6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1E28D24-168D-AB0C-A3B7-0CB77A090368}"/>
              </a:ext>
            </a:extLst>
          </p:cNvPr>
          <p:cNvSpPr>
            <a:spLocks noGrp="1"/>
          </p:cNvSpPr>
          <p:nvPr>
            <p:ph type="dt" sz="half" idx="10"/>
          </p:nvPr>
        </p:nvSpPr>
        <p:spPr/>
        <p:txBody>
          <a:bodyPr/>
          <a:lstStyle/>
          <a:p>
            <a:fld id="{E6AD11C1-EBD3-4444-AF57-3DD427BDDCEE}" type="datetime3">
              <a:rPr lang="en-US" smtClean="0"/>
              <a:t>11 May 2024</a:t>
            </a:fld>
            <a:endParaRPr lang="en-US"/>
          </a:p>
        </p:txBody>
      </p:sp>
      <p:sp>
        <p:nvSpPr>
          <p:cNvPr id="8" name="Footer Placeholder 7">
            <a:extLst>
              <a:ext uri="{FF2B5EF4-FFF2-40B4-BE49-F238E27FC236}">
                <a16:creationId xmlns:a16="http://schemas.microsoft.com/office/drawing/2014/main" id="{7E2634FE-D027-3574-0BEC-D2E4A5B62052}"/>
              </a:ext>
            </a:extLst>
          </p:cNvPr>
          <p:cNvSpPr>
            <a:spLocks noGrp="1"/>
          </p:cNvSpPr>
          <p:nvPr>
            <p:ph type="ftr" sz="quarter" idx="11"/>
          </p:nvPr>
        </p:nvSpPr>
        <p:spPr/>
        <p:txBody>
          <a:bodyPr/>
          <a:lstStyle/>
          <a:p>
            <a:r>
              <a:rPr lang="en-US"/>
              <a:t>Presentation Title</a:t>
            </a:r>
          </a:p>
        </p:txBody>
      </p:sp>
      <p:sp>
        <p:nvSpPr>
          <p:cNvPr id="9" name="Slide Number Placeholder 8">
            <a:extLst>
              <a:ext uri="{FF2B5EF4-FFF2-40B4-BE49-F238E27FC236}">
                <a16:creationId xmlns:a16="http://schemas.microsoft.com/office/drawing/2014/main" id="{9B274709-D1F4-056D-0577-9B82A8B2B81E}"/>
              </a:ext>
            </a:extLst>
          </p:cNvPr>
          <p:cNvSpPr>
            <a:spLocks noGrp="1"/>
          </p:cNvSpPr>
          <p:nvPr>
            <p:ph type="sldNum" sz="quarter" idx="12"/>
          </p:nvPr>
        </p:nvSpPr>
        <p:spPr/>
        <p:txBody>
          <a:bodyPr/>
          <a:lstStyle/>
          <a:p>
            <a:fld id="{D41431EB-2470-4CF7-8AF3-098C09A1AA29}" type="slidenum">
              <a:rPr lang="en-US" smtClean="0"/>
              <a:t>‹#›</a:t>
            </a:fld>
            <a:endParaRPr lang="en-US"/>
          </a:p>
        </p:txBody>
      </p:sp>
    </p:spTree>
    <p:extLst>
      <p:ext uri="{BB962C8B-B14F-4D97-AF65-F5344CB8AC3E}">
        <p14:creationId xmlns:p14="http://schemas.microsoft.com/office/powerpoint/2010/main" val="16871923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E38F4B-1D8C-BF2D-7484-DCD101F347B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6650AC0-6B92-EFFA-0902-4FD5C39B8376}"/>
              </a:ext>
            </a:extLst>
          </p:cNvPr>
          <p:cNvSpPr>
            <a:spLocks noGrp="1"/>
          </p:cNvSpPr>
          <p:nvPr>
            <p:ph type="dt" sz="half" idx="10"/>
          </p:nvPr>
        </p:nvSpPr>
        <p:spPr/>
        <p:txBody>
          <a:bodyPr/>
          <a:lstStyle/>
          <a:p>
            <a:fld id="{AE942138-B10D-4C23-ACD5-5D753D17E9CF}" type="datetime3">
              <a:rPr lang="en-US" smtClean="0"/>
              <a:t>11 May 2024</a:t>
            </a:fld>
            <a:endParaRPr lang="en-US"/>
          </a:p>
        </p:txBody>
      </p:sp>
      <p:sp>
        <p:nvSpPr>
          <p:cNvPr id="4" name="Footer Placeholder 3">
            <a:extLst>
              <a:ext uri="{FF2B5EF4-FFF2-40B4-BE49-F238E27FC236}">
                <a16:creationId xmlns:a16="http://schemas.microsoft.com/office/drawing/2014/main" id="{7F3D1373-AF93-D9D6-8801-2EE5BC458915}"/>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ADB9B58F-E6F2-384A-0E34-F114A3C238E8}"/>
              </a:ext>
            </a:extLst>
          </p:cNvPr>
          <p:cNvSpPr>
            <a:spLocks noGrp="1"/>
          </p:cNvSpPr>
          <p:nvPr>
            <p:ph type="sldNum" sz="quarter" idx="12"/>
          </p:nvPr>
        </p:nvSpPr>
        <p:spPr/>
        <p:txBody>
          <a:bodyPr/>
          <a:lstStyle/>
          <a:p>
            <a:fld id="{D41431EB-2470-4CF7-8AF3-098C09A1AA29}" type="slidenum">
              <a:rPr lang="en-US" smtClean="0"/>
              <a:t>‹#›</a:t>
            </a:fld>
            <a:endParaRPr lang="en-US"/>
          </a:p>
        </p:txBody>
      </p:sp>
    </p:spTree>
    <p:extLst>
      <p:ext uri="{BB962C8B-B14F-4D97-AF65-F5344CB8AC3E}">
        <p14:creationId xmlns:p14="http://schemas.microsoft.com/office/powerpoint/2010/main" val="12444647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E2567F1-5525-474E-94F5-E867D1B54EBD}"/>
              </a:ext>
            </a:extLst>
          </p:cNvPr>
          <p:cNvSpPr>
            <a:spLocks noGrp="1"/>
          </p:cNvSpPr>
          <p:nvPr>
            <p:ph type="dt" sz="half" idx="10"/>
          </p:nvPr>
        </p:nvSpPr>
        <p:spPr/>
        <p:txBody>
          <a:bodyPr/>
          <a:lstStyle/>
          <a:p>
            <a:fld id="{D68953B8-66AE-4154-8EDC-ECB5656FFC9E}" type="datetime3">
              <a:rPr lang="en-US" smtClean="0"/>
              <a:t>11 May 2024</a:t>
            </a:fld>
            <a:endParaRPr lang="en-US"/>
          </a:p>
        </p:txBody>
      </p:sp>
      <p:sp>
        <p:nvSpPr>
          <p:cNvPr id="3" name="Footer Placeholder 2">
            <a:extLst>
              <a:ext uri="{FF2B5EF4-FFF2-40B4-BE49-F238E27FC236}">
                <a16:creationId xmlns:a16="http://schemas.microsoft.com/office/drawing/2014/main" id="{861CF156-5A27-833E-2D2B-7C42161998AA}"/>
              </a:ext>
            </a:extLst>
          </p:cNvPr>
          <p:cNvSpPr>
            <a:spLocks noGrp="1"/>
          </p:cNvSpPr>
          <p:nvPr>
            <p:ph type="ftr" sz="quarter" idx="11"/>
          </p:nvPr>
        </p:nvSpPr>
        <p:spPr/>
        <p:txBody>
          <a:bodyPr/>
          <a:lstStyle/>
          <a:p>
            <a:r>
              <a:rPr lang="en-US"/>
              <a:t>Presentation Title</a:t>
            </a:r>
          </a:p>
        </p:txBody>
      </p:sp>
      <p:sp>
        <p:nvSpPr>
          <p:cNvPr id="4" name="Slide Number Placeholder 3">
            <a:extLst>
              <a:ext uri="{FF2B5EF4-FFF2-40B4-BE49-F238E27FC236}">
                <a16:creationId xmlns:a16="http://schemas.microsoft.com/office/drawing/2014/main" id="{A930A645-3CB8-B60E-5D1D-229378C29D7D}"/>
              </a:ext>
            </a:extLst>
          </p:cNvPr>
          <p:cNvSpPr>
            <a:spLocks noGrp="1"/>
          </p:cNvSpPr>
          <p:nvPr>
            <p:ph type="sldNum" sz="quarter" idx="12"/>
          </p:nvPr>
        </p:nvSpPr>
        <p:spPr/>
        <p:txBody>
          <a:bodyPr/>
          <a:lstStyle/>
          <a:p>
            <a:fld id="{D41431EB-2470-4CF7-8AF3-098C09A1AA29}" type="slidenum">
              <a:rPr lang="en-US" smtClean="0"/>
              <a:t>‹#›</a:t>
            </a:fld>
            <a:endParaRPr lang="en-US"/>
          </a:p>
        </p:txBody>
      </p:sp>
    </p:spTree>
    <p:extLst>
      <p:ext uri="{BB962C8B-B14F-4D97-AF65-F5344CB8AC3E}">
        <p14:creationId xmlns:p14="http://schemas.microsoft.com/office/powerpoint/2010/main" val="38925548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08A95-3645-538D-9233-F007C6926F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2EE4958-1A33-99B1-6E11-4367ACEA43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ED44F13-5626-172F-DB8E-FDCFDFD560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746F464-214E-6C00-A458-2C18483177A6}"/>
              </a:ext>
            </a:extLst>
          </p:cNvPr>
          <p:cNvSpPr>
            <a:spLocks noGrp="1"/>
          </p:cNvSpPr>
          <p:nvPr>
            <p:ph type="dt" sz="half" idx="10"/>
          </p:nvPr>
        </p:nvSpPr>
        <p:spPr/>
        <p:txBody>
          <a:bodyPr/>
          <a:lstStyle/>
          <a:p>
            <a:fld id="{18383A74-E13C-4C9E-B441-27D8B3A86817}" type="datetime3">
              <a:rPr lang="en-US" smtClean="0"/>
              <a:t>11 May 2024</a:t>
            </a:fld>
            <a:endParaRPr lang="en-US"/>
          </a:p>
        </p:txBody>
      </p:sp>
      <p:sp>
        <p:nvSpPr>
          <p:cNvPr id="6" name="Footer Placeholder 5">
            <a:extLst>
              <a:ext uri="{FF2B5EF4-FFF2-40B4-BE49-F238E27FC236}">
                <a16:creationId xmlns:a16="http://schemas.microsoft.com/office/drawing/2014/main" id="{387FCF85-808E-A01E-87EB-5019E516E773}"/>
              </a:ext>
            </a:extLst>
          </p:cNvPr>
          <p:cNvSpPr>
            <a:spLocks noGrp="1"/>
          </p:cNvSpPr>
          <p:nvPr>
            <p:ph type="ftr" sz="quarter" idx="11"/>
          </p:nvPr>
        </p:nvSpPr>
        <p:spPr/>
        <p:txBody>
          <a:bodyPr/>
          <a:lstStyle/>
          <a:p>
            <a:r>
              <a:rPr lang="en-US"/>
              <a:t>Presentation Title</a:t>
            </a:r>
          </a:p>
        </p:txBody>
      </p:sp>
      <p:sp>
        <p:nvSpPr>
          <p:cNvPr id="7" name="Slide Number Placeholder 6">
            <a:extLst>
              <a:ext uri="{FF2B5EF4-FFF2-40B4-BE49-F238E27FC236}">
                <a16:creationId xmlns:a16="http://schemas.microsoft.com/office/drawing/2014/main" id="{4F1A13DC-4927-1E65-6495-B3EC8B956BD5}"/>
              </a:ext>
            </a:extLst>
          </p:cNvPr>
          <p:cNvSpPr>
            <a:spLocks noGrp="1"/>
          </p:cNvSpPr>
          <p:nvPr>
            <p:ph type="sldNum" sz="quarter" idx="12"/>
          </p:nvPr>
        </p:nvSpPr>
        <p:spPr/>
        <p:txBody>
          <a:bodyPr/>
          <a:lstStyle/>
          <a:p>
            <a:fld id="{D41431EB-2470-4CF7-8AF3-098C09A1AA29}" type="slidenum">
              <a:rPr lang="en-US" smtClean="0"/>
              <a:t>‹#›</a:t>
            </a:fld>
            <a:endParaRPr lang="en-US"/>
          </a:p>
        </p:txBody>
      </p:sp>
    </p:spTree>
    <p:extLst>
      <p:ext uri="{BB962C8B-B14F-4D97-AF65-F5344CB8AC3E}">
        <p14:creationId xmlns:p14="http://schemas.microsoft.com/office/powerpoint/2010/main" val="21389847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DE5A7-AC1C-8118-48A0-D37121FB90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025BEAC-1150-535B-0296-1E39134306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BBA2ED3-3A5C-C1F2-CF6C-C9685857D00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03535EB-71C0-D730-F0D0-0E1B037DD475}"/>
              </a:ext>
            </a:extLst>
          </p:cNvPr>
          <p:cNvSpPr>
            <a:spLocks noGrp="1"/>
          </p:cNvSpPr>
          <p:nvPr>
            <p:ph type="dt" sz="half" idx="10"/>
          </p:nvPr>
        </p:nvSpPr>
        <p:spPr/>
        <p:txBody>
          <a:bodyPr/>
          <a:lstStyle/>
          <a:p>
            <a:fld id="{613E2D1C-5E89-48A0-8859-A9F09C67126A}" type="datetime3">
              <a:rPr lang="en-US" smtClean="0"/>
              <a:t>11 May 2024</a:t>
            </a:fld>
            <a:endParaRPr lang="en-US"/>
          </a:p>
        </p:txBody>
      </p:sp>
      <p:sp>
        <p:nvSpPr>
          <p:cNvPr id="6" name="Footer Placeholder 5">
            <a:extLst>
              <a:ext uri="{FF2B5EF4-FFF2-40B4-BE49-F238E27FC236}">
                <a16:creationId xmlns:a16="http://schemas.microsoft.com/office/drawing/2014/main" id="{9FE4E66D-DEA6-7A4D-E4B2-CFA733A48449}"/>
              </a:ext>
            </a:extLst>
          </p:cNvPr>
          <p:cNvSpPr>
            <a:spLocks noGrp="1"/>
          </p:cNvSpPr>
          <p:nvPr>
            <p:ph type="ftr" sz="quarter" idx="11"/>
          </p:nvPr>
        </p:nvSpPr>
        <p:spPr/>
        <p:txBody>
          <a:bodyPr/>
          <a:lstStyle/>
          <a:p>
            <a:r>
              <a:rPr lang="en-US"/>
              <a:t>Presentation Title</a:t>
            </a:r>
          </a:p>
        </p:txBody>
      </p:sp>
      <p:sp>
        <p:nvSpPr>
          <p:cNvPr id="7" name="Slide Number Placeholder 6">
            <a:extLst>
              <a:ext uri="{FF2B5EF4-FFF2-40B4-BE49-F238E27FC236}">
                <a16:creationId xmlns:a16="http://schemas.microsoft.com/office/drawing/2014/main" id="{65A3F635-5073-F8FE-6CD9-30B4F488D62A}"/>
              </a:ext>
            </a:extLst>
          </p:cNvPr>
          <p:cNvSpPr>
            <a:spLocks noGrp="1"/>
          </p:cNvSpPr>
          <p:nvPr>
            <p:ph type="sldNum" sz="quarter" idx="12"/>
          </p:nvPr>
        </p:nvSpPr>
        <p:spPr/>
        <p:txBody>
          <a:bodyPr/>
          <a:lstStyle/>
          <a:p>
            <a:fld id="{D41431EB-2470-4CF7-8AF3-098C09A1AA29}" type="slidenum">
              <a:rPr lang="en-US" smtClean="0"/>
              <a:t>‹#›</a:t>
            </a:fld>
            <a:endParaRPr lang="en-US"/>
          </a:p>
        </p:txBody>
      </p:sp>
    </p:spTree>
    <p:extLst>
      <p:ext uri="{BB962C8B-B14F-4D97-AF65-F5344CB8AC3E}">
        <p14:creationId xmlns:p14="http://schemas.microsoft.com/office/powerpoint/2010/main" val="34613255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D2D85-985F-A131-0FBA-7E89F920B48F}"/>
              </a:ext>
            </a:extLst>
          </p:cNvPr>
          <p:cNvSpPr>
            <a:spLocks noGrp="1"/>
          </p:cNvSpPr>
          <p:nvPr>
            <p:ph type="title" hasCustomPrompt="1"/>
          </p:nvPr>
        </p:nvSpPr>
        <p:spPr/>
        <p:txBody>
          <a:bodyPr/>
          <a:lstStyle/>
          <a:p>
            <a:r>
              <a:rPr lang="en-US"/>
              <a:t>Slide title</a:t>
            </a:r>
          </a:p>
        </p:txBody>
      </p:sp>
      <p:sp>
        <p:nvSpPr>
          <p:cNvPr id="3" name="Date Placeholder 2">
            <a:extLst>
              <a:ext uri="{FF2B5EF4-FFF2-40B4-BE49-F238E27FC236}">
                <a16:creationId xmlns:a16="http://schemas.microsoft.com/office/drawing/2014/main" id="{DB382A53-87A0-442A-AFFD-EFB12A027E49}"/>
              </a:ext>
            </a:extLst>
          </p:cNvPr>
          <p:cNvSpPr>
            <a:spLocks noGrp="1"/>
          </p:cNvSpPr>
          <p:nvPr>
            <p:ph type="dt" sz="half" idx="10"/>
          </p:nvPr>
        </p:nvSpPr>
        <p:spPr/>
        <p:txBody>
          <a:bodyPr/>
          <a:lstStyle/>
          <a:p>
            <a:fld id="{9AE09D67-BA5F-424F-852E-4C13A3F1671F}" type="datetime3">
              <a:rPr lang="en-US" smtClean="0"/>
              <a:t>11 May 2024</a:t>
            </a:fld>
            <a:endParaRPr lang="en-IN" dirty="0"/>
          </a:p>
        </p:txBody>
      </p:sp>
      <p:sp>
        <p:nvSpPr>
          <p:cNvPr id="5" name="Slide Number Placeholder 4">
            <a:extLst>
              <a:ext uri="{FF2B5EF4-FFF2-40B4-BE49-F238E27FC236}">
                <a16:creationId xmlns:a16="http://schemas.microsoft.com/office/drawing/2014/main" id="{DB334649-C8EB-F3E6-E867-EA6DEA8CED51}"/>
              </a:ext>
            </a:extLst>
          </p:cNvPr>
          <p:cNvSpPr>
            <a:spLocks noGrp="1"/>
          </p:cNvSpPr>
          <p:nvPr>
            <p:ph type="sldNum" sz="quarter" idx="12"/>
          </p:nvPr>
        </p:nvSpPr>
        <p:spPr/>
        <p:txBody>
          <a:bodyPr/>
          <a:lstStyle/>
          <a:p>
            <a:r>
              <a:rPr lang="en-GB"/>
              <a:t>Page </a:t>
            </a:r>
            <a:fld id="{F1BC30E3-FFE5-4B91-AA19-87A149EBB9EE}" type="slidenum">
              <a:rPr smtClean="0"/>
              <a:t>‹#›</a:t>
            </a:fld>
            <a:endParaRPr/>
          </a:p>
        </p:txBody>
      </p:sp>
      <p:cxnSp>
        <p:nvCxnSpPr>
          <p:cNvPr id="4" name="Straight Connector 3">
            <a:extLst>
              <a:ext uri="{FF2B5EF4-FFF2-40B4-BE49-F238E27FC236}">
                <a16:creationId xmlns:a16="http://schemas.microsoft.com/office/drawing/2014/main" id="{BC71DD6A-2D80-A8CF-FC20-26D3822D35C5}"/>
              </a:ext>
            </a:extLst>
          </p:cNvPr>
          <p:cNvCxnSpPr/>
          <p:nvPr userDrawn="1"/>
        </p:nvCxnSpPr>
        <p:spPr>
          <a:xfrm>
            <a:off x="609601" y="885080"/>
            <a:ext cx="10972800" cy="0"/>
          </a:xfrm>
          <a:prstGeom prst="line">
            <a:avLst/>
          </a:prstGeom>
          <a:ln w="9525">
            <a:solidFill>
              <a:srgbClr val="FFE7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2055454"/>
      </p:ext>
    </p:extLst>
  </p:cSld>
  <p:clrMapOvr>
    <a:masterClrMapping/>
  </p:clrMapOvr>
  <p:transition/>
  <p:extLst>
    <p:ext uri="{DCECCB84-F9BA-43D5-87BE-67443E8EF086}">
      <p15:sldGuideLst xmlns:p15="http://schemas.microsoft.com/office/powerpoint/2012/main">
        <p15:guide id="2" pos="384">
          <p15:clr>
            <a:srgbClr val="FBAE40"/>
          </p15:clr>
        </p15:guide>
        <p15:guide id="3" pos="7296">
          <p15:clr>
            <a:srgbClr val="FBAE40"/>
          </p15:clr>
        </p15:guide>
        <p15:guide id="4" orient="horz" pos="69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654EB-EFE6-7E95-97D2-CF75729C5A1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4789A1A-095B-08F9-964F-3E92A4E5334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4CA556-90A1-206B-3EE9-38EA6CB67F87}"/>
              </a:ext>
            </a:extLst>
          </p:cNvPr>
          <p:cNvSpPr>
            <a:spLocks noGrp="1"/>
          </p:cNvSpPr>
          <p:nvPr>
            <p:ph type="dt" sz="half" idx="10"/>
          </p:nvPr>
        </p:nvSpPr>
        <p:spPr/>
        <p:txBody>
          <a:bodyPr/>
          <a:lstStyle/>
          <a:p>
            <a:fld id="{5811219E-6CD8-4568-A7F4-85611A2E0AA2}" type="datetime3">
              <a:rPr lang="en-US" smtClean="0"/>
              <a:t>11 May 2024</a:t>
            </a:fld>
            <a:endParaRPr lang="en-US"/>
          </a:p>
        </p:txBody>
      </p:sp>
      <p:sp>
        <p:nvSpPr>
          <p:cNvPr id="5" name="Footer Placeholder 4">
            <a:extLst>
              <a:ext uri="{FF2B5EF4-FFF2-40B4-BE49-F238E27FC236}">
                <a16:creationId xmlns:a16="http://schemas.microsoft.com/office/drawing/2014/main" id="{7C69FCA3-8F7E-1438-A8A9-6F3B63484485}"/>
              </a:ext>
            </a:extLst>
          </p:cNvPr>
          <p:cNvSpPr>
            <a:spLocks noGrp="1"/>
          </p:cNvSpPr>
          <p:nvPr>
            <p:ph type="ftr" sz="quarter" idx="11"/>
          </p:nvPr>
        </p:nvSpPr>
        <p:spPr/>
        <p:txBody>
          <a:bodyPr/>
          <a:lstStyle/>
          <a:p>
            <a:r>
              <a:rPr lang="en-US"/>
              <a:t>Presentation Title</a:t>
            </a:r>
          </a:p>
        </p:txBody>
      </p:sp>
      <p:sp>
        <p:nvSpPr>
          <p:cNvPr id="6" name="Slide Number Placeholder 5">
            <a:extLst>
              <a:ext uri="{FF2B5EF4-FFF2-40B4-BE49-F238E27FC236}">
                <a16:creationId xmlns:a16="http://schemas.microsoft.com/office/drawing/2014/main" id="{1C229A3C-66BC-163A-78F1-03BD86532632}"/>
              </a:ext>
            </a:extLst>
          </p:cNvPr>
          <p:cNvSpPr>
            <a:spLocks noGrp="1"/>
          </p:cNvSpPr>
          <p:nvPr>
            <p:ph type="sldNum" sz="quarter" idx="12"/>
          </p:nvPr>
        </p:nvSpPr>
        <p:spPr/>
        <p:txBody>
          <a:bodyPr/>
          <a:lstStyle/>
          <a:p>
            <a:fld id="{D41431EB-2470-4CF7-8AF3-098C09A1AA29}" type="slidenum">
              <a:rPr lang="en-US" smtClean="0"/>
              <a:t>‹#›</a:t>
            </a:fld>
            <a:endParaRPr lang="en-US"/>
          </a:p>
        </p:txBody>
      </p:sp>
    </p:spTree>
    <p:extLst>
      <p:ext uri="{BB962C8B-B14F-4D97-AF65-F5344CB8AC3E}">
        <p14:creationId xmlns:p14="http://schemas.microsoft.com/office/powerpoint/2010/main" val="37543526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3056FEE-E79B-0346-6465-636793F0AFE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3DDCD82-101E-1FC1-81C2-A6CE90FBA8A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3C7389-C1F7-B758-1448-8A4DC09668FF}"/>
              </a:ext>
            </a:extLst>
          </p:cNvPr>
          <p:cNvSpPr>
            <a:spLocks noGrp="1"/>
          </p:cNvSpPr>
          <p:nvPr>
            <p:ph type="dt" sz="half" idx="10"/>
          </p:nvPr>
        </p:nvSpPr>
        <p:spPr/>
        <p:txBody>
          <a:bodyPr/>
          <a:lstStyle/>
          <a:p>
            <a:fld id="{59F2095E-8165-4289-953C-2DFEAAE686D8}" type="datetime3">
              <a:rPr lang="en-US" smtClean="0"/>
              <a:t>11 May 2024</a:t>
            </a:fld>
            <a:endParaRPr lang="en-US"/>
          </a:p>
        </p:txBody>
      </p:sp>
      <p:sp>
        <p:nvSpPr>
          <p:cNvPr id="5" name="Footer Placeholder 4">
            <a:extLst>
              <a:ext uri="{FF2B5EF4-FFF2-40B4-BE49-F238E27FC236}">
                <a16:creationId xmlns:a16="http://schemas.microsoft.com/office/drawing/2014/main" id="{C5FB146F-3C22-B263-5A82-79323FF41DF4}"/>
              </a:ext>
            </a:extLst>
          </p:cNvPr>
          <p:cNvSpPr>
            <a:spLocks noGrp="1"/>
          </p:cNvSpPr>
          <p:nvPr>
            <p:ph type="ftr" sz="quarter" idx="11"/>
          </p:nvPr>
        </p:nvSpPr>
        <p:spPr/>
        <p:txBody>
          <a:bodyPr/>
          <a:lstStyle/>
          <a:p>
            <a:r>
              <a:rPr lang="en-US"/>
              <a:t>Presentation Title</a:t>
            </a:r>
          </a:p>
        </p:txBody>
      </p:sp>
      <p:sp>
        <p:nvSpPr>
          <p:cNvPr id="6" name="Slide Number Placeholder 5">
            <a:extLst>
              <a:ext uri="{FF2B5EF4-FFF2-40B4-BE49-F238E27FC236}">
                <a16:creationId xmlns:a16="http://schemas.microsoft.com/office/drawing/2014/main" id="{D2FA9AA0-2690-AFE4-F5E0-022A0009CE5B}"/>
              </a:ext>
            </a:extLst>
          </p:cNvPr>
          <p:cNvSpPr>
            <a:spLocks noGrp="1"/>
          </p:cNvSpPr>
          <p:nvPr>
            <p:ph type="sldNum" sz="quarter" idx="12"/>
          </p:nvPr>
        </p:nvSpPr>
        <p:spPr/>
        <p:txBody>
          <a:bodyPr/>
          <a:lstStyle/>
          <a:p>
            <a:fld id="{D41431EB-2470-4CF7-8AF3-098C09A1AA29}" type="slidenum">
              <a:rPr lang="en-US" smtClean="0"/>
              <a:t>‹#›</a:t>
            </a:fld>
            <a:endParaRPr lang="en-US"/>
          </a:p>
        </p:txBody>
      </p:sp>
    </p:spTree>
    <p:extLst>
      <p:ext uri="{BB962C8B-B14F-4D97-AF65-F5344CB8AC3E}">
        <p14:creationId xmlns:p14="http://schemas.microsoft.com/office/powerpoint/2010/main" val="7289453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Image Only">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ED1B3DAC-62C6-592C-5D14-F0DCB88AE332}"/>
              </a:ext>
            </a:extLst>
          </p:cNvPr>
          <p:cNvSpPr>
            <a:spLocks noGrp="1"/>
          </p:cNvSpPr>
          <p:nvPr>
            <p:ph type="pic" sz="quarter" idx="10"/>
          </p:nvPr>
        </p:nvSpPr>
        <p:spPr>
          <a:xfrm>
            <a:off x="0" y="0"/>
            <a:ext cx="12192000" cy="6858000"/>
          </a:xfrm>
        </p:spPr>
        <p:txBody>
          <a:bodyPr/>
          <a:lstStyle/>
          <a:p>
            <a:endParaRPr lang="en-US"/>
          </a:p>
        </p:txBody>
      </p:sp>
    </p:spTree>
    <p:extLst>
      <p:ext uri="{BB962C8B-B14F-4D97-AF65-F5344CB8AC3E}">
        <p14:creationId xmlns:p14="http://schemas.microsoft.com/office/powerpoint/2010/main" val="2508291543"/>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a:t>Slide titl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6E980E3C-EC2A-4BB4-8BD3-7F7FDA45160D}" type="datetime3">
              <a:rPr lang="en-US" smtClean="0"/>
              <a:t>11 May 2024</a:t>
            </a:fld>
            <a:endParaRPr lang="en-IN"/>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t>‹#›</a:t>
            </a:fld>
            <a:endParaRPr/>
          </a:p>
        </p:txBody>
      </p:sp>
      <p:sp>
        <p:nvSpPr>
          <p:cNvPr id="6" name="Text Placeholder 2">
            <a:extLst>
              <a:ext uri="{FF2B5EF4-FFF2-40B4-BE49-F238E27FC236}">
                <a16:creationId xmlns:a16="http://schemas.microsoft.com/office/drawing/2014/main" id="{9F06DBA3-AB26-E672-142D-85821FE08261}"/>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0938790"/>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880"/>
          </a:xfrm>
        </p:spPr>
        <p:txBody>
          <a:bodyPr/>
          <a:lstStyle>
            <a:lvl1pPr>
              <a:defRPr>
                <a:solidFill>
                  <a:schemeClr val="bg1"/>
                </a:solidFill>
              </a:defRPr>
            </a:lvl1pPr>
          </a:lstStyle>
          <a:p>
            <a:r>
              <a:rPr lang="en-US"/>
              <a:t>Slide title</a:t>
            </a:r>
            <a:endParaRPr lang="en-GB"/>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11D29F7A-7469-4EE5-8436-53F8F09499C3}" type="datetime3">
              <a:rPr lang="en-US" smtClean="0"/>
              <a:t>11 May 2024</a:t>
            </a:fld>
            <a:endParaRPr lang="en-IN"/>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t>‹#›</a:t>
            </a:fld>
            <a:endParaRPr/>
          </a:p>
        </p:txBody>
      </p:sp>
    </p:spTree>
    <p:extLst>
      <p:ext uri="{BB962C8B-B14F-4D97-AF65-F5344CB8AC3E}">
        <p14:creationId xmlns:p14="http://schemas.microsoft.com/office/powerpoint/2010/main" val="1746205330"/>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2"/>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2"/>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hasCustomPrompt="1"/>
          </p:nvPr>
        </p:nvSpPr>
        <p:spPr>
          <a:xfrm>
            <a:off x="609601" y="1137920"/>
            <a:ext cx="5390400" cy="640800"/>
          </a:xfrm>
        </p:spPr>
        <p:txBody>
          <a:bodyPr anchor="t" anchorCtr="0"/>
          <a:lstStyle>
            <a:lvl1pPr>
              <a:buNone/>
              <a:defRPr b="1">
                <a:solidFill>
                  <a:schemeClr val="bg1"/>
                </a:solidFill>
              </a:defRPr>
            </a:lvl1pPr>
          </a:lstStyle>
          <a:p>
            <a:pPr lvl="0"/>
            <a:r>
              <a:rPr lang="en-GB"/>
              <a:t>Subtitle</a:t>
            </a:r>
          </a:p>
        </p:txBody>
      </p:sp>
      <p:sp>
        <p:nvSpPr>
          <p:cNvPr id="11" name="Text Placeholder 9"/>
          <p:cNvSpPr>
            <a:spLocks noGrp="1"/>
          </p:cNvSpPr>
          <p:nvPr>
            <p:ph type="body" sz="quarter" idx="13" hasCustomPrompt="1"/>
          </p:nvPr>
        </p:nvSpPr>
        <p:spPr>
          <a:xfrm>
            <a:off x="6196405" y="1137920"/>
            <a:ext cx="5390400" cy="640800"/>
          </a:xfrm>
        </p:spPr>
        <p:txBody>
          <a:bodyPr anchor="t" anchorCtr="0"/>
          <a:lstStyle>
            <a:lvl1pPr>
              <a:buNone/>
              <a:defRPr b="1">
                <a:solidFill>
                  <a:schemeClr val="bg1"/>
                </a:solidFill>
              </a:defRPr>
            </a:lvl1pPr>
          </a:lstStyle>
          <a:p>
            <a:pPr lvl="0"/>
            <a:r>
              <a:rPr lang="en-GB"/>
              <a:t>Subtitle</a:t>
            </a:r>
          </a:p>
        </p:txBody>
      </p:sp>
      <p:sp>
        <p:nvSpPr>
          <p:cNvPr id="2" name="Title 1"/>
          <p:cNvSpPr>
            <a:spLocks noGrp="1"/>
          </p:cNvSpPr>
          <p:nvPr>
            <p:ph type="title" hasCustomPrompt="1"/>
          </p:nvPr>
        </p:nvSpPr>
        <p:spPr>
          <a:xfrm>
            <a:off x="609601" y="294200"/>
            <a:ext cx="10972800" cy="590880"/>
          </a:xfrm>
        </p:spPr>
        <p:txBody>
          <a:bodyPr/>
          <a:lstStyle>
            <a:lvl1pPr>
              <a:defRPr>
                <a:solidFill>
                  <a:schemeClr val="bg1"/>
                </a:solidFill>
              </a:defRPr>
            </a:lvl1pPr>
          </a:lstStyle>
          <a:p>
            <a:r>
              <a:rPr lang="en-US"/>
              <a:t>Slide tit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A2092A51-8F75-4630-80D8-38D9A069D492}" type="datetime3">
              <a:rPr lang="en-US" smtClean="0"/>
              <a:t>11 May 2024</a:t>
            </a:fld>
            <a:endParaRPr lang="en-IN"/>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t>‹#›</a:t>
            </a:fld>
            <a:endParaRPr/>
          </a:p>
        </p:txBody>
      </p:sp>
    </p:spTree>
    <p:extLst>
      <p:ext uri="{BB962C8B-B14F-4D97-AF65-F5344CB8AC3E}">
        <p14:creationId xmlns:p14="http://schemas.microsoft.com/office/powerpoint/2010/main" val="872910482"/>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9629" y="1869442"/>
            <a:ext cx="3479466" cy="4256075"/>
          </a:xfrm>
        </p:spPr>
        <p:txBody>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359917" y="1869442"/>
            <a:ext cx="3479466" cy="4256075"/>
          </a:xfrm>
        </p:spPr>
        <p:txBody>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hasCustomPrompt="1"/>
          </p:nvPr>
        </p:nvSpPr>
        <p:spPr>
          <a:xfrm>
            <a:off x="616901" y="1137920"/>
            <a:ext cx="3479466" cy="640800"/>
          </a:xfrm>
        </p:spPr>
        <p:txBody>
          <a:bodyPr anchor="t" anchorCtr="0"/>
          <a:lstStyle>
            <a:lvl1pPr>
              <a:buNone/>
              <a:defRPr b="1">
                <a:solidFill>
                  <a:schemeClr val="bg1"/>
                </a:solidFill>
              </a:defRPr>
            </a:lvl1pPr>
          </a:lstStyle>
          <a:p>
            <a:pPr lvl="0"/>
            <a:r>
              <a:rPr lang="en-GB"/>
              <a:t>Subtitle</a:t>
            </a:r>
          </a:p>
        </p:txBody>
      </p:sp>
      <p:sp>
        <p:nvSpPr>
          <p:cNvPr id="11" name="Text Placeholder 9"/>
          <p:cNvSpPr>
            <a:spLocks noGrp="1"/>
          </p:cNvSpPr>
          <p:nvPr>
            <p:ph type="body" sz="quarter" idx="13" hasCustomPrompt="1"/>
          </p:nvPr>
        </p:nvSpPr>
        <p:spPr>
          <a:xfrm>
            <a:off x="4358553" y="1137920"/>
            <a:ext cx="3479466" cy="640800"/>
          </a:xfrm>
        </p:spPr>
        <p:txBody>
          <a:bodyPr anchor="t" anchorCtr="0"/>
          <a:lstStyle>
            <a:lvl1pPr>
              <a:buNone/>
              <a:defRPr b="1">
                <a:solidFill>
                  <a:schemeClr val="bg1"/>
                </a:solidFill>
              </a:defRPr>
            </a:lvl1pPr>
          </a:lstStyle>
          <a:p>
            <a:pPr lvl="0"/>
            <a:r>
              <a:rPr lang="en-GB"/>
              <a:t>Subtitle</a:t>
            </a:r>
          </a:p>
        </p:txBody>
      </p:sp>
      <p:sp>
        <p:nvSpPr>
          <p:cNvPr id="2" name="Title 1"/>
          <p:cNvSpPr>
            <a:spLocks noGrp="1"/>
          </p:cNvSpPr>
          <p:nvPr>
            <p:ph type="title" hasCustomPrompt="1"/>
          </p:nvPr>
        </p:nvSpPr>
        <p:spPr>
          <a:xfrm>
            <a:off x="609601" y="294200"/>
            <a:ext cx="10972800" cy="590880"/>
          </a:xfrm>
        </p:spPr>
        <p:txBody>
          <a:bodyPr/>
          <a:lstStyle>
            <a:lvl1pPr>
              <a:defRPr>
                <a:solidFill>
                  <a:schemeClr val="bg1"/>
                </a:solidFill>
              </a:defRPr>
            </a:lvl1pPr>
          </a:lstStyle>
          <a:p>
            <a:r>
              <a:rPr lang="en-US"/>
              <a:t>Slide tit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91B31488-B9F6-47C0-AACC-40D40F33BBD0}" type="datetime3">
              <a:rPr lang="en-US" smtClean="0"/>
              <a:t>11 May 2024</a:t>
            </a:fld>
            <a:endParaRPr lang="en-IN"/>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t>‹#›</a:t>
            </a:fld>
            <a:endParaRPr/>
          </a:p>
        </p:txBody>
      </p:sp>
      <p:sp>
        <p:nvSpPr>
          <p:cNvPr id="8" name="Content Placeholder 3">
            <a:extLst>
              <a:ext uri="{FF2B5EF4-FFF2-40B4-BE49-F238E27FC236}">
                <a16:creationId xmlns:a16="http://schemas.microsoft.com/office/drawing/2014/main" id="{76479EDB-AA6D-CDA5-DBA6-F3AF4FACAFCA}"/>
              </a:ext>
            </a:extLst>
          </p:cNvPr>
          <p:cNvSpPr>
            <a:spLocks noGrp="1"/>
          </p:cNvSpPr>
          <p:nvPr>
            <p:ph sz="half" idx="17"/>
          </p:nvPr>
        </p:nvSpPr>
        <p:spPr>
          <a:xfrm>
            <a:off x="8100204" y="1869442"/>
            <a:ext cx="3479466" cy="4256075"/>
          </a:xfrm>
        </p:spPr>
        <p:txBody>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9">
            <a:extLst>
              <a:ext uri="{FF2B5EF4-FFF2-40B4-BE49-F238E27FC236}">
                <a16:creationId xmlns:a16="http://schemas.microsoft.com/office/drawing/2014/main" id="{7466D4C2-6B38-C015-F5B5-2E845935DC8D}"/>
              </a:ext>
            </a:extLst>
          </p:cNvPr>
          <p:cNvSpPr>
            <a:spLocks noGrp="1"/>
          </p:cNvSpPr>
          <p:nvPr>
            <p:ph type="body" sz="quarter" idx="18" hasCustomPrompt="1"/>
          </p:nvPr>
        </p:nvSpPr>
        <p:spPr>
          <a:xfrm>
            <a:off x="8100204" y="1137920"/>
            <a:ext cx="3479466" cy="640800"/>
          </a:xfrm>
        </p:spPr>
        <p:txBody>
          <a:bodyPr anchor="t" anchorCtr="0"/>
          <a:lstStyle>
            <a:lvl1pPr>
              <a:buNone/>
              <a:defRPr b="1">
                <a:solidFill>
                  <a:schemeClr val="bg1"/>
                </a:solidFill>
              </a:defRPr>
            </a:lvl1pPr>
          </a:lstStyle>
          <a:p>
            <a:pPr lvl="0"/>
            <a:r>
              <a:rPr lang="en-GB"/>
              <a:t>Subtitle</a:t>
            </a:r>
          </a:p>
        </p:txBody>
      </p:sp>
    </p:spTree>
    <p:extLst>
      <p:ext uri="{BB962C8B-B14F-4D97-AF65-F5344CB8AC3E}">
        <p14:creationId xmlns:p14="http://schemas.microsoft.com/office/powerpoint/2010/main" val="2725497737"/>
      </p:ext>
    </p:extLst>
  </p:cSld>
  <p:clrMapOvr>
    <a:masterClrMapping/>
  </p:clrMapOvr>
  <p:transition/>
  <p:extLst>
    <p:ext uri="{DCECCB84-F9BA-43D5-87BE-67443E8EF086}">
      <p15:sldGuideLst xmlns:p15="http://schemas.microsoft.com/office/powerpoint/2012/main">
        <p15:guide id="2" pos="384" userDrawn="1">
          <p15:clr>
            <a:srgbClr val="FBAE40"/>
          </p15:clr>
        </p15:guide>
        <p15:guide id="3" pos="7296" userDrawn="1">
          <p15:clr>
            <a:srgbClr val="FBAE40"/>
          </p15:clr>
        </p15:guide>
        <p15:guide id="4"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75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5D807B6-3ACD-B820-3690-4AF05DB18853}"/>
              </a:ext>
            </a:extLst>
          </p:cNvPr>
          <p:cNvGraphicFramePr>
            <a:graphicFrameLocks noChangeAspect="1"/>
          </p:cNvGraphicFramePr>
          <p:nvPr userDrawn="1">
            <p:custDataLst>
              <p:tags r:id="rId32"/>
            </p:custDataLst>
            <p:extLst>
              <p:ext uri="{D42A27DB-BD31-4B8C-83A1-F6EECF244321}">
                <p14:modId xmlns:p14="http://schemas.microsoft.com/office/powerpoint/2010/main" val="2004304841"/>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33" imgW="278" imgH="278" progId="TCLayout.ActiveDocument.1">
                  <p:embed/>
                </p:oleObj>
              </mc:Choice>
              <mc:Fallback>
                <p:oleObj name="think-cell Slide" r:id="rId33" imgW="278" imgH="278" progId="TCLayout.ActiveDocument.1">
                  <p:embed/>
                  <p:pic>
                    <p:nvPicPr>
                      <p:cNvPr id="5" name="Object 4" hidden="1">
                        <a:extLst>
                          <a:ext uri="{FF2B5EF4-FFF2-40B4-BE49-F238E27FC236}">
                            <a16:creationId xmlns:a16="http://schemas.microsoft.com/office/drawing/2014/main" id="{A5D807B6-3ACD-B820-3690-4AF05DB18853}"/>
                          </a:ext>
                        </a:extLst>
                      </p:cNvPr>
                      <p:cNvPicPr/>
                      <p:nvPr/>
                    </p:nvPicPr>
                    <p:blipFill>
                      <a:blip r:embed="rId34"/>
                      <a:stretch>
                        <a:fillRect/>
                      </a:stretch>
                    </p:blipFill>
                    <p:spPr>
                      <a:xfrm>
                        <a:off x="794" y="794"/>
                        <a:ext cx="794" cy="794"/>
                      </a:xfrm>
                      <a:prstGeom prst="rect">
                        <a:avLst/>
                      </a:prstGeom>
                    </p:spPr>
                  </p:pic>
                </p:oleObj>
              </mc:Fallback>
            </mc:AlternateContent>
          </a:graphicData>
        </a:graphic>
      </p:graphicFrame>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a:xfrm>
            <a:off x="11281251"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ABC9458B-8C2C-486A-8ADE-F22CCDC7E2F8}"/>
                </a:ext>
              </a:extLst>
            </p:cNvPr>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4" name="Freeform 7">
              <a:extLst>
                <a:ext uri="{FF2B5EF4-FFF2-40B4-BE49-F238E27FC236}">
                  <a16:creationId xmlns:a16="http://schemas.microsoft.com/office/drawing/2014/main" id="{0A4C4046-69B4-41DA-AA2E-E892AEC9AA90}"/>
                </a:ext>
              </a:extLst>
            </p:cNvPr>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760" rtl="0" eaLnBrk="1" latinLnBrk="0" hangingPunct="1">
              <a:defRPr lang="en-IN" sz="800" kern="1200" smtClean="0">
                <a:solidFill>
                  <a:schemeClr val="bg1"/>
                </a:solidFill>
                <a:latin typeface="EYInterstate Regular" panose="02000503020000020004" pitchFamily="2" charset="0"/>
                <a:ea typeface="+mn-ea"/>
                <a:cs typeface="+mn-cs"/>
              </a:defRPr>
            </a:lvl1pPr>
          </a:lstStyle>
          <a:p>
            <a:fld id="{86523EF9-2C45-4C3D-81BF-DA6C0340AF93}" type="datetime3">
              <a:rPr lang="en-US" smtClean="0"/>
              <a:t>11 May 2024</a:t>
            </a:fld>
            <a:endParaRPr lang="en-IN"/>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1" y="6471244"/>
            <a:ext cx="662721" cy="180000"/>
          </a:xfrm>
          <a:prstGeom prst="rect">
            <a:avLst/>
          </a:prstGeom>
        </p:spPr>
        <p:txBody>
          <a:bodyPr vert="horz" lIns="0" tIns="0" rIns="0" bIns="0" rtlCol="0" anchor="ctr"/>
          <a:lstStyle>
            <a:lvl1pPr marL="0" algn="l" defTabSz="913760" rtl="0" eaLnBrk="1" latinLnBrk="0" hangingPunct="1">
              <a:defRPr lang="en-IN" sz="800" kern="1200" smtClean="0">
                <a:solidFill>
                  <a:schemeClr val="bg1"/>
                </a:solidFill>
                <a:latin typeface="EYInterstate Regular" panose="02000503020000020004" pitchFamily="2" charset="0"/>
                <a:ea typeface="+mn-ea"/>
                <a:cs typeface="+mn-cs"/>
              </a:defRPr>
            </a:lvl1pPr>
          </a:lstStyle>
          <a:p>
            <a:r>
              <a:rPr lang="en-GB"/>
              <a:t>Page </a:t>
            </a:r>
            <a:fld id="{F1BC30E3-FFE5-4B91-AA19-87A149EBB9EE}" type="slidenum">
              <a:rPr smtClean="0"/>
              <a:t>‹#›</a:t>
            </a:fld>
            <a:endParaRPr/>
          </a:p>
        </p:txBody>
      </p:sp>
      <p:sp>
        <p:nvSpPr>
          <p:cNvPr id="4" name="Footer Placeholder 3">
            <a:extLst>
              <a:ext uri="{FF2B5EF4-FFF2-40B4-BE49-F238E27FC236}">
                <a16:creationId xmlns:a16="http://schemas.microsoft.com/office/drawing/2014/main" id="{D6937833-C3E1-090B-83AE-3248079EF94D}"/>
              </a:ext>
            </a:extLst>
          </p:cNvPr>
          <p:cNvSpPr txBox="1"/>
          <p:nvPr userDrawn="1"/>
        </p:nvSpPr>
        <p:spPr>
          <a:xfrm>
            <a:off x="4054741" y="6376604"/>
            <a:ext cx="4082518" cy="483331"/>
          </a:xfrm>
          <a:prstGeom prst="rect">
            <a:avLst/>
          </a:prstGeom>
        </p:spPr>
        <p:txBody>
          <a:bodyPr anchor="ct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28463">
              <a:spcAft>
                <a:spcPts val="300"/>
              </a:spcAft>
              <a:buClr>
                <a:srgbClr val="27ACAA"/>
              </a:buClr>
              <a:buSzPct val="70000"/>
            </a:pPr>
            <a:r>
              <a:rPr lang="en-US" sz="700">
                <a:solidFill>
                  <a:prstClr val="white"/>
                </a:solidFill>
                <a:latin typeface="EYInterstate Light"/>
              </a:rPr>
              <a:t>This document was generated by EY.ai Knowledge Engine using artificial intelligence. It may contain errors or inaccuracies and MUST be reviewed by the user before sharing internally or externally. </a:t>
            </a:r>
          </a:p>
        </p:txBody>
      </p:sp>
    </p:spTree>
    <p:extLst>
      <p:ext uri="{BB962C8B-B14F-4D97-AF65-F5344CB8AC3E}">
        <p14:creationId xmlns:p14="http://schemas.microsoft.com/office/powerpoint/2010/main" val="2201614670"/>
      </p:ext>
    </p:extLst>
  </p:cSld>
  <p:clrMap bg1="lt1" tx1="dk1" bg2="lt2" tx2="dk2" accent1="accent1" accent2="accent2" accent3="accent3" accent4="accent4" accent5="accent5" accent6="accent6" hlink="hlink" folHlink="folHlink"/>
  <p:sldLayoutIdLst>
    <p:sldLayoutId id="2147483687" r:id="rId1"/>
    <p:sldLayoutId id="2147483660" r:id="rId2"/>
    <p:sldLayoutId id="2147483662" r:id="rId3"/>
    <p:sldLayoutId id="2147483697" r:id="rId4"/>
    <p:sldLayoutId id="2147483702" r:id="rId5"/>
    <p:sldLayoutId id="2147483664" r:id="rId6"/>
    <p:sldLayoutId id="2147483676" r:id="rId7"/>
    <p:sldLayoutId id="2147483677" r:id="rId8"/>
    <p:sldLayoutId id="2147483691" r:id="rId9"/>
    <p:sldLayoutId id="2147483693" r:id="rId10"/>
    <p:sldLayoutId id="2147483698" r:id="rId11"/>
    <p:sldLayoutId id="2147483699" r:id="rId12"/>
    <p:sldLayoutId id="2147483700" r:id="rId13"/>
    <p:sldLayoutId id="2147483719" r:id="rId14"/>
    <p:sldLayoutId id="2147483688" r:id="rId15"/>
    <p:sldLayoutId id="2147483692" r:id="rId16"/>
    <p:sldLayoutId id="2147483689" r:id="rId17"/>
    <p:sldLayoutId id="2147483695" r:id="rId18"/>
    <p:sldLayoutId id="2147483696" r:id="rId19"/>
    <p:sldLayoutId id="2147483694" r:id="rId20"/>
    <p:sldLayoutId id="2147483701" r:id="rId21"/>
    <p:sldLayoutId id="2147483668" r:id="rId22"/>
    <p:sldLayoutId id="2147483669" r:id="rId23"/>
    <p:sldLayoutId id="2147483672" r:id="rId24"/>
    <p:sldLayoutId id="2147483673" r:id="rId25"/>
    <p:sldLayoutId id="2147483684" r:id="rId26"/>
    <p:sldLayoutId id="2147483685" r:id="rId27"/>
    <p:sldLayoutId id="2147483686" r:id="rId28"/>
    <p:sldLayoutId id="2147483703" r:id="rId29"/>
    <p:sldLayoutId id="2147483718" r:id="rId30"/>
  </p:sldLayoutIdLst>
  <p:transition/>
  <p:hf hdr="0" ftr="0"/>
  <p:txStyles>
    <p:titleStyle>
      <a:lvl1pPr algn="l" defTabSz="913760"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367" indent="-356367" algn="l" defTabSz="913760"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732" indent="-356367" algn="l" defTabSz="913760"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099" indent="-356367" algn="l" defTabSz="913760"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466" indent="-356367" algn="l" defTabSz="913760"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1832" indent="-356367" algn="l" defTabSz="913760"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2840"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9720"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6601"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3480"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760" rtl="0" eaLnBrk="1" latinLnBrk="0" hangingPunct="1">
        <a:defRPr sz="1799" kern="1200">
          <a:solidFill>
            <a:schemeClr val="tx1"/>
          </a:solidFill>
          <a:latin typeface="+mn-lt"/>
          <a:ea typeface="+mn-ea"/>
          <a:cs typeface="+mn-cs"/>
        </a:defRPr>
      </a:lvl1pPr>
      <a:lvl2pPr marL="456880" algn="l" defTabSz="913760" rtl="0" eaLnBrk="1" latinLnBrk="0" hangingPunct="1">
        <a:defRPr sz="1799" kern="1200">
          <a:solidFill>
            <a:schemeClr val="tx1"/>
          </a:solidFill>
          <a:latin typeface="+mn-lt"/>
          <a:ea typeface="+mn-ea"/>
          <a:cs typeface="+mn-cs"/>
        </a:defRPr>
      </a:lvl2pPr>
      <a:lvl3pPr marL="913760" algn="l" defTabSz="913760" rtl="0" eaLnBrk="1" latinLnBrk="0" hangingPunct="1">
        <a:defRPr sz="1799" kern="1200">
          <a:solidFill>
            <a:schemeClr val="tx1"/>
          </a:solidFill>
          <a:latin typeface="+mn-lt"/>
          <a:ea typeface="+mn-ea"/>
          <a:cs typeface="+mn-cs"/>
        </a:defRPr>
      </a:lvl3pPr>
      <a:lvl4pPr marL="1370640" algn="l" defTabSz="913760" rtl="0" eaLnBrk="1" latinLnBrk="0" hangingPunct="1">
        <a:defRPr sz="1799" kern="1200">
          <a:solidFill>
            <a:schemeClr val="tx1"/>
          </a:solidFill>
          <a:latin typeface="+mn-lt"/>
          <a:ea typeface="+mn-ea"/>
          <a:cs typeface="+mn-cs"/>
        </a:defRPr>
      </a:lvl4pPr>
      <a:lvl5pPr marL="1827520" algn="l" defTabSz="913760" rtl="0" eaLnBrk="1" latinLnBrk="0" hangingPunct="1">
        <a:defRPr sz="1799" kern="1200">
          <a:solidFill>
            <a:schemeClr val="tx1"/>
          </a:solidFill>
          <a:latin typeface="+mn-lt"/>
          <a:ea typeface="+mn-ea"/>
          <a:cs typeface="+mn-cs"/>
        </a:defRPr>
      </a:lvl5pPr>
      <a:lvl6pPr marL="2284400" algn="l" defTabSz="913760" rtl="0" eaLnBrk="1" latinLnBrk="0" hangingPunct="1">
        <a:defRPr sz="1799" kern="1200">
          <a:solidFill>
            <a:schemeClr val="tx1"/>
          </a:solidFill>
          <a:latin typeface="+mn-lt"/>
          <a:ea typeface="+mn-ea"/>
          <a:cs typeface="+mn-cs"/>
        </a:defRPr>
      </a:lvl6pPr>
      <a:lvl7pPr marL="2741280" algn="l" defTabSz="913760" rtl="0" eaLnBrk="1" latinLnBrk="0" hangingPunct="1">
        <a:defRPr sz="1799" kern="1200">
          <a:solidFill>
            <a:schemeClr val="tx1"/>
          </a:solidFill>
          <a:latin typeface="+mn-lt"/>
          <a:ea typeface="+mn-ea"/>
          <a:cs typeface="+mn-cs"/>
        </a:defRPr>
      </a:lvl7pPr>
      <a:lvl8pPr marL="3198160" algn="l" defTabSz="913760" rtl="0" eaLnBrk="1" latinLnBrk="0" hangingPunct="1">
        <a:defRPr sz="1799" kern="1200">
          <a:solidFill>
            <a:schemeClr val="tx1"/>
          </a:solidFill>
          <a:latin typeface="+mn-lt"/>
          <a:ea typeface="+mn-ea"/>
          <a:cs typeface="+mn-cs"/>
        </a:defRPr>
      </a:lvl8pPr>
      <a:lvl9pPr marL="3655040" algn="l" defTabSz="913760"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75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359C138-DEB6-6969-3C5D-05D6D26CE31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0892F63-11D7-300E-A0B6-E65FC39BA28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6A13F8-1A5C-390B-BB74-5E27663A8AE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619A57-1C30-46D2-AA62-6A9AD86290BE}" type="datetime3">
              <a:rPr lang="en-US" smtClean="0"/>
              <a:t>11 May 2024</a:t>
            </a:fld>
            <a:endParaRPr lang="en-US"/>
          </a:p>
        </p:txBody>
      </p:sp>
      <p:sp>
        <p:nvSpPr>
          <p:cNvPr id="5" name="Footer Placeholder 4">
            <a:extLst>
              <a:ext uri="{FF2B5EF4-FFF2-40B4-BE49-F238E27FC236}">
                <a16:creationId xmlns:a16="http://schemas.microsoft.com/office/drawing/2014/main" id="{4A5F6CEF-CF09-D606-D74F-18B33341567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Presentation Title</a:t>
            </a:r>
          </a:p>
        </p:txBody>
      </p:sp>
      <p:sp>
        <p:nvSpPr>
          <p:cNvPr id="6" name="Slide Number Placeholder 5">
            <a:extLst>
              <a:ext uri="{FF2B5EF4-FFF2-40B4-BE49-F238E27FC236}">
                <a16:creationId xmlns:a16="http://schemas.microsoft.com/office/drawing/2014/main" id="{3B3AABAA-BEF6-52C5-53FE-9261D9B6365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1431EB-2470-4CF7-8AF3-098C09A1AA29}" type="slidenum">
              <a:rPr lang="en-US" smtClean="0"/>
              <a:t>‹#›</a:t>
            </a:fld>
            <a:endParaRPr lang="en-US"/>
          </a:p>
        </p:txBody>
      </p:sp>
    </p:spTree>
    <p:extLst>
      <p:ext uri="{BB962C8B-B14F-4D97-AF65-F5344CB8AC3E}">
        <p14:creationId xmlns:p14="http://schemas.microsoft.com/office/powerpoint/2010/main" val="176855478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7" name="Graphic 76">
            <a:extLst>
              <a:ext uri="{FF2B5EF4-FFF2-40B4-BE49-F238E27FC236}">
                <a16:creationId xmlns:a16="http://schemas.microsoft.com/office/drawing/2014/main" id="{37C8D8FD-0D81-E137-BC4B-16512541F2DC}"/>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89111" y="867559"/>
            <a:ext cx="4845500" cy="3933825"/>
          </a:xfrm>
          <a:prstGeom prst="rect">
            <a:avLst/>
          </a:prstGeom>
        </p:spPr>
      </p:pic>
      <p:sp>
        <p:nvSpPr>
          <p:cNvPr id="3" name="Title 2">
            <a:extLst>
              <a:ext uri="{FF2B5EF4-FFF2-40B4-BE49-F238E27FC236}">
                <a16:creationId xmlns:a16="http://schemas.microsoft.com/office/drawing/2014/main" id="{7699813E-0B68-A83E-D698-C509CCC6FAB0}"/>
              </a:ext>
            </a:extLst>
          </p:cNvPr>
          <p:cNvSpPr>
            <a:spLocks noGrp="1"/>
          </p:cNvSpPr>
          <p:nvPr>
            <p:ph type="ctrTitle"/>
          </p:nvPr>
        </p:nvSpPr>
        <p:spPr>
          <a:xfrm>
            <a:off x="902825" y="1898248"/>
            <a:ext cx="4247909" cy="1145893"/>
          </a:xfrm>
        </p:spPr>
        <p:txBody>
          <a:bodyPr/>
          <a:lstStyle/>
          <a:p>
            <a:r>
              <a:rPr lang="es-ES_tradnl" dirty="0"/>
              <a:t>A case </a:t>
            </a:r>
            <a:r>
              <a:rPr lang="es-ES_tradnl" dirty="0" err="1"/>
              <a:t>study</a:t>
            </a:r>
            <a:r>
              <a:rPr lang="es-ES_tradnl" dirty="0"/>
              <a:t> </a:t>
            </a:r>
            <a:r>
              <a:rPr lang="es-ES_tradnl" dirty="0" err="1"/>
              <a:t>for</a:t>
            </a:r>
            <a:r>
              <a:rPr lang="es-ES_tradnl" dirty="0"/>
              <a:t> </a:t>
            </a:r>
            <a:r>
              <a:rPr lang="es-ES_tradnl" dirty="0" err="1"/>
              <a:t>trasaction</a:t>
            </a:r>
            <a:r>
              <a:rPr lang="es-ES_tradnl" dirty="0"/>
              <a:t> </a:t>
            </a:r>
            <a:r>
              <a:rPr lang="es-ES_tradnl" dirty="0" err="1"/>
              <a:t>amount</a:t>
            </a:r>
            <a:r>
              <a:rPr lang="es-ES_tradnl" dirty="0"/>
              <a:t> </a:t>
            </a:r>
            <a:r>
              <a:rPr lang="es-ES_tradnl" dirty="0" err="1"/>
              <a:t>prediction</a:t>
            </a:r>
            <a:endParaRPr lang="en-US" dirty="0"/>
          </a:p>
        </p:txBody>
      </p:sp>
      <p:sp>
        <p:nvSpPr>
          <p:cNvPr id="4" name="Subtitle 3">
            <a:extLst>
              <a:ext uri="{FF2B5EF4-FFF2-40B4-BE49-F238E27FC236}">
                <a16:creationId xmlns:a16="http://schemas.microsoft.com/office/drawing/2014/main" id="{152049C1-3C41-D7F4-4117-5C9B637DA9A3}"/>
              </a:ext>
            </a:extLst>
          </p:cNvPr>
          <p:cNvSpPr>
            <a:spLocks noGrp="1"/>
          </p:cNvSpPr>
          <p:nvPr>
            <p:ph type="subTitle" idx="1"/>
          </p:nvPr>
        </p:nvSpPr>
        <p:spPr/>
        <p:txBody>
          <a:bodyPr/>
          <a:lstStyle/>
          <a:p>
            <a:r>
              <a:rPr lang="es-ES_tradnl" dirty="0"/>
              <a:t>Jesus Blanquer</a:t>
            </a:r>
            <a:endParaRPr lang="en-US" dirty="0"/>
          </a:p>
        </p:txBody>
      </p:sp>
      <p:sp>
        <p:nvSpPr>
          <p:cNvPr id="5" name="Date Placeholder 4">
            <a:extLst>
              <a:ext uri="{FF2B5EF4-FFF2-40B4-BE49-F238E27FC236}">
                <a16:creationId xmlns:a16="http://schemas.microsoft.com/office/drawing/2014/main" id="{2D994DAF-981B-B1C9-03D7-21AA701A8934}"/>
              </a:ext>
            </a:extLst>
          </p:cNvPr>
          <p:cNvSpPr>
            <a:spLocks noGrp="1"/>
          </p:cNvSpPr>
          <p:nvPr>
            <p:ph type="dt" sz="half" idx="11"/>
          </p:nvPr>
        </p:nvSpPr>
        <p:spPr/>
        <p:txBody>
          <a:bodyPr/>
          <a:lstStyle/>
          <a:p>
            <a:fld id="{F0FDA47D-2C22-4B97-9DB1-DC69CB123ED7}" type="datetime3">
              <a:rPr lang="en-US" smtClean="0"/>
              <a:t>11 May 2024</a:t>
            </a:fld>
            <a:endParaRPr lang="en-US" dirty="0"/>
          </a:p>
        </p:txBody>
      </p:sp>
    </p:spTree>
    <p:extLst>
      <p:ext uri="{BB962C8B-B14F-4D97-AF65-F5344CB8AC3E}">
        <p14:creationId xmlns:p14="http://schemas.microsoft.com/office/powerpoint/2010/main" val="318877185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0DEA5-732B-94F5-7A50-114F40705CA4}"/>
              </a:ext>
            </a:extLst>
          </p:cNvPr>
          <p:cNvSpPr>
            <a:spLocks noGrp="1"/>
          </p:cNvSpPr>
          <p:nvPr>
            <p:ph type="title"/>
          </p:nvPr>
        </p:nvSpPr>
        <p:spPr/>
        <p:txBody>
          <a:bodyPr/>
          <a:lstStyle/>
          <a:p>
            <a:r>
              <a:rPr lang="es-ES_tradnl" dirty="0" err="1"/>
              <a:t>Assumptions</a:t>
            </a:r>
            <a:endParaRPr lang="en-US" dirty="0"/>
          </a:p>
        </p:txBody>
      </p:sp>
      <p:sp>
        <p:nvSpPr>
          <p:cNvPr id="3" name="Date Placeholder 2">
            <a:extLst>
              <a:ext uri="{FF2B5EF4-FFF2-40B4-BE49-F238E27FC236}">
                <a16:creationId xmlns:a16="http://schemas.microsoft.com/office/drawing/2014/main" id="{E71689B8-DE71-99E8-B617-FA796D7F241E}"/>
              </a:ext>
            </a:extLst>
          </p:cNvPr>
          <p:cNvSpPr>
            <a:spLocks noGrp="1"/>
          </p:cNvSpPr>
          <p:nvPr>
            <p:ph type="dt" sz="half" idx="10"/>
          </p:nvPr>
        </p:nvSpPr>
        <p:spPr/>
        <p:txBody>
          <a:bodyPr/>
          <a:lstStyle/>
          <a:p>
            <a:fld id="{6D500B88-76A6-4392-AD51-541927CB9C47}" type="datetime3">
              <a:rPr lang="en-US" smtClean="0"/>
              <a:t>11 May 2024</a:t>
            </a:fld>
            <a:endParaRPr lang="en-IN"/>
          </a:p>
        </p:txBody>
      </p:sp>
      <p:sp>
        <p:nvSpPr>
          <p:cNvPr id="5" name="Slide Number Placeholder 4">
            <a:extLst>
              <a:ext uri="{FF2B5EF4-FFF2-40B4-BE49-F238E27FC236}">
                <a16:creationId xmlns:a16="http://schemas.microsoft.com/office/drawing/2014/main" id="{16A0BB12-09F8-77F6-FF67-DF15BA750107}"/>
              </a:ext>
            </a:extLst>
          </p:cNvPr>
          <p:cNvSpPr>
            <a:spLocks noGrp="1"/>
          </p:cNvSpPr>
          <p:nvPr>
            <p:ph type="sldNum" sz="quarter" idx="12"/>
          </p:nvPr>
        </p:nvSpPr>
        <p:spPr/>
        <p:txBody>
          <a:bodyPr/>
          <a:lstStyle/>
          <a:p>
            <a:r>
              <a:rPr lang="en-GB"/>
              <a:t>Page </a:t>
            </a:r>
            <a:fld id="{F1BC30E3-FFE5-4B91-AA19-87A149EBB9EE}" type="slidenum">
              <a:rPr smtClean="0"/>
              <a:t>2</a:t>
            </a:fld>
            <a:endParaRPr/>
          </a:p>
        </p:txBody>
      </p:sp>
      <p:sp>
        <p:nvSpPr>
          <p:cNvPr id="6" name="Text Placeholder 8">
            <a:extLst>
              <a:ext uri="{FF2B5EF4-FFF2-40B4-BE49-F238E27FC236}">
                <a16:creationId xmlns:a16="http://schemas.microsoft.com/office/drawing/2014/main" id="{EAA402A8-BD59-1203-AE63-1F5245B809CD}"/>
              </a:ext>
            </a:extLst>
          </p:cNvPr>
          <p:cNvSpPr txBox="1"/>
          <p:nvPr/>
        </p:nvSpPr>
        <p:spPr>
          <a:xfrm>
            <a:off x="1525664" y="1281207"/>
            <a:ext cx="10056737" cy="726888"/>
          </a:xfrm>
          <a:prstGeom prst="rect">
            <a:avLst/>
          </a:prstGeom>
        </p:spPr>
        <p:txBody>
          <a:bodyPr/>
          <a:lstStyle>
            <a:lvl1pPr marL="0" indent="0" algn="l" defTabSz="913760" rtl="0" eaLnBrk="1" latinLnBrk="0" hangingPunct="1">
              <a:spcBef>
                <a:spcPct val="20000"/>
              </a:spcBef>
              <a:buClr>
                <a:schemeClr val="tx2"/>
              </a:buClr>
              <a:buSzPct val="110000"/>
              <a:buFont typeface="EYInterstate Light" panose="02000506000000020004" pitchFamily="2" charset="0"/>
              <a:buNone/>
              <a:defRPr sz="1800" kern="1200">
                <a:solidFill>
                  <a:schemeClr val="bg1"/>
                </a:solidFill>
                <a:latin typeface="EYInterstate Light" panose="02000506000000020004" pitchFamily="2" charset="0"/>
                <a:ea typeface="+mn-ea"/>
                <a:cs typeface="+mn-cs"/>
              </a:defRPr>
            </a:lvl1pPr>
            <a:lvl2pPr marL="712732" indent="-356367" algn="l" defTabSz="913760"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099" indent="-356367" algn="l" defTabSz="913760"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466" indent="-356367" algn="l" defTabSz="913760"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1832" indent="-356367" algn="l" defTabSz="913760"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2840"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9720"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6601"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3480"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r>
              <a:rPr lang="en-US" dirty="0"/>
              <a:t>The values provided in the dataset accurately reflect users' financial transactions and are free from errors or inconsistencies.</a:t>
            </a:r>
          </a:p>
        </p:txBody>
      </p:sp>
      <p:cxnSp>
        <p:nvCxnSpPr>
          <p:cNvPr id="7" name="Straight Connector 6">
            <a:extLst>
              <a:ext uri="{FF2B5EF4-FFF2-40B4-BE49-F238E27FC236}">
                <a16:creationId xmlns:a16="http://schemas.microsoft.com/office/drawing/2014/main" id="{2800DA58-5DBA-5210-F638-36EF5ECA70B7}"/>
              </a:ext>
            </a:extLst>
          </p:cNvPr>
          <p:cNvCxnSpPr/>
          <p:nvPr/>
        </p:nvCxnSpPr>
        <p:spPr>
          <a:xfrm flipH="1">
            <a:off x="609600" y="2135581"/>
            <a:ext cx="10972800" cy="0"/>
          </a:xfrm>
          <a:prstGeom prst="line">
            <a:avLst/>
          </a:prstGeom>
          <a:noFill/>
          <a:ln w="12700" cap="flat" cmpd="sng" algn="ctr">
            <a:gradFill flip="none" rotWithShape="1">
              <a:gsLst>
                <a:gs pos="0">
                  <a:srgbClr val="2E2E38"/>
                </a:gs>
                <a:gs pos="50000">
                  <a:srgbClr val="FFE700"/>
                </a:gs>
                <a:gs pos="99000">
                  <a:srgbClr val="2E2E38"/>
                </a:gs>
              </a:gsLst>
              <a:lin ang="0" scaled="1"/>
            </a:gradFill>
            <a:prstDash val="solid"/>
            <a:tailEnd type="none"/>
          </a:ln>
          <a:effectLst/>
        </p:spPr>
      </p:cxnSp>
      <p:sp>
        <p:nvSpPr>
          <p:cNvPr id="8" name="Oval 7">
            <a:extLst>
              <a:ext uri="{FF2B5EF4-FFF2-40B4-BE49-F238E27FC236}">
                <a16:creationId xmlns:a16="http://schemas.microsoft.com/office/drawing/2014/main" id="{946C017A-FE0E-A445-ED61-6A30A86A8D0D}"/>
              </a:ext>
            </a:extLst>
          </p:cNvPr>
          <p:cNvSpPr/>
          <p:nvPr/>
        </p:nvSpPr>
        <p:spPr>
          <a:xfrm>
            <a:off x="609599" y="1281207"/>
            <a:ext cx="727805" cy="727805"/>
          </a:xfrm>
          <a:prstGeom prst="ellipse">
            <a:avLst/>
          </a:prstGeom>
          <a:solidFill>
            <a:srgbClr val="FFE7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dirty="0">
                <a:solidFill>
                  <a:schemeClr val="tx1"/>
                </a:solidFill>
              </a:rPr>
              <a:t>1</a:t>
            </a:r>
          </a:p>
        </p:txBody>
      </p:sp>
      <p:sp>
        <p:nvSpPr>
          <p:cNvPr id="9" name="Text Placeholder 8">
            <a:extLst>
              <a:ext uri="{FF2B5EF4-FFF2-40B4-BE49-F238E27FC236}">
                <a16:creationId xmlns:a16="http://schemas.microsoft.com/office/drawing/2014/main" id="{8D779DAD-3485-EFC6-AF69-10421262ACBA}"/>
              </a:ext>
            </a:extLst>
          </p:cNvPr>
          <p:cNvSpPr txBox="1"/>
          <p:nvPr/>
        </p:nvSpPr>
        <p:spPr>
          <a:xfrm>
            <a:off x="1504441" y="2348009"/>
            <a:ext cx="10056737" cy="726888"/>
          </a:xfrm>
          <a:prstGeom prst="rect">
            <a:avLst/>
          </a:prstGeom>
        </p:spPr>
        <p:txBody>
          <a:bodyPr/>
          <a:lstStyle>
            <a:lvl1pPr marL="0" indent="0" algn="l" defTabSz="913760" rtl="0" eaLnBrk="1" latinLnBrk="0" hangingPunct="1">
              <a:spcBef>
                <a:spcPct val="20000"/>
              </a:spcBef>
              <a:buClr>
                <a:schemeClr val="tx2"/>
              </a:buClr>
              <a:buSzPct val="110000"/>
              <a:buFont typeface="EYInterstate Light" panose="02000506000000020004" pitchFamily="2" charset="0"/>
              <a:buNone/>
              <a:defRPr sz="1800" kern="1200">
                <a:solidFill>
                  <a:schemeClr val="bg1"/>
                </a:solidFill>
                <a:latin typeface="EYInterstate Light" panose="02000506000000020004" pitchFamily="2" charset="0"/>
                <a:ea typeface="+mn-ea"/>
                <a:cs typeface="+mn-cs"/>
              </a:defRPr>
            </a:lvl1pPr>
            <a:lvl2pPr marL="712732" indent="-356367" algn="l" defTabSz="913760"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099" indent="-356367" algn="l" defTabSz="913760"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466" indent="-356367" algn="l" defTabSz="913760"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1832" indent="-356367" algn="l" defTabSz="913760"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2840"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9720"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6601"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3480"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r>
              <a:rPr lang="en-US" dirty="0"/>
              <a:t>Some features or columns in the dataset may not contribute significantly to predicting transaction amounts and can be safely removed during model training.</a:t>
            </a:r>
          </a:p>
        </p:txBody>
      </p:sp>
      <p:cxnSp>
        <p:nvCxnSpPr>
          <p:cNvPr id="10" name="Straight Connector 9">
            <a:extLst>
              <a:ext uri="{FF2B5EF4-FFF2-40B4-BE49-F238E27FC236}">
                <a16:creationId xmlns:a16="http://schemas.microsoft.com/office/drawing/2014/main" id="{10198374-E5CF-981D-2353-EAD53ABAA44C}"/>
              </a:ext>
            </a:extLst>
          </p:cNvPr>
          <p:cNvCxnSpPr/>
          <p:nvPr/>
        </p:nvCxnSpPr>
        <p:spPr>
          <a:xfrm flipH="1">
            <a:off x="588377" y="3202383"/>
            <a:ext cx="10972800" cy="0"/>
          </a:xfrm>
          <a:prstGeom prst="line">
            <a:avLst/>
          </a:prstGeom>
          <a:noFill/>
          <a:ln w="12700" cap="flat" cmpd="sng" algn="ctr">
            <a:gradFill flip="none" rotWithShape="1">
              <a:gsLst>
                <a:gs pos="0">
                  <a:srgbClr val="2E2E38"/>
                </a:gs>
                <a:gs pos="50000">
                  <a:srgbClr val="FFE700"/>
                </a:gs>
                <a:gs pos="99000">
                  <a:srgbClr val="2E2E38"/>
                </a:gs>
              </a:gsLst>
              <a:lin ang="0" scaled="1"/>
            </a:gradFill>
            <a:prstDash val="solid"/>
            <a:tailEnd type="none"/>
          </a:ln>
          <a:effectLst/>
        </p:spPr>
      </p:cxnSp>
      <p:sp>
        <p:nvSpPr>
          <p:cNvPr id="11" name="Oval 10">
            <a:extLst>
              <a:ext uri="{FF2B5EF4-FFF2-40B4-BE49-F238E27FC236}">
                <a16:creationId xmlns:a16="http://schemas.microsoft.com/office/drawing/2014/main" id="{0A0AD7D7-9DBE-DDD1-4060-570D79F0D71A}"/>
              </a:ext>
            </a:extLst>
          </p:cNvPr>
          <p:cNvSpPr/>
          <p:nvPr/>
        </p:nvSpPr>
        <p:spPr>
          <a:xfrm>
            <a:off x="588376" y="2348009"/>
            <a:ext cx="727805" cy="727805"/>
          </a:xfrm>
          <a:prstGeom prst="ellipse">
            <a:avLst/>
          </a:prstGeom>
          <a:solidFill>
            <a:srgbClr val="FFE7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dirty="0">
                <a:solidFill>
                  <a:schemeClr val="tx1"/>
                </a:solidFill>
              </a:rPr>
              <a:t>2</a:t>
            </a:r>
          </a:p>
        </p:txBody>
      </p:sp>
      <p:cxnSp>
        <p:nvCxnSpPr>
          <p:cNvPr id="12" name="Straight Connector 11">
            <a:extLst>
              <a:ext uri="{FF2B5EF4-FFF2-40B4-BE49-F238E27FC236}">
                <a16:creationId xmlns:a16="http://schemas.microsoft.com/office/drawing/2014/main" id="{4F9B3DE2-E047-D69D-651C-8397C10360EF}"/>
              </a:ext>
            </a:extLst>
          </p:cNvPr>
          <p:cNvCxnSpPr/>
          <p:nvPr/>
        </p:nvCxnSpPr>
        <p:spPr>
          <a:xfrm flipH="1">
            <a:off x="623100" y="3213945"/>
            <a:ext cx="10972800" cy="0"/>
          </a:xfrm>
          <a:prstGeom prst="line">
            <a:avLst/>
          </a:prstGeom>
          <a:noFill/>
          <a:ln w="12700" cap="flat" cmpd="sng" algn="ctr">
            <a:gradFill flip="none" rotWithShape="1">
              <a:gsLst>
                <a:gs pos="0">
                  <a:srgbClr val="2E2E38"/>
                </a:gs>
                <a:gs pos="50000">
                  <a:srgbClr val="FFE700"/>
                </a:gs>
                <a:gs pos="99000">
                  <a:srgbClr val="2E2E38"/>
                </a:gs>
              </a:gsLst>
              <a:lin ang="0" scaled="1"/>
            </a:gradFill>
            <a:prstDash val="solid"/>
            <a:tailEnd type="none"/>
          </a:ln>
          <a:effectLst/>
        </p:spPr>
      </p:cxnSp>
      <p:sp>
        <p:nvSpPr>
          <p:cNvPr id="13" name="Text Placeholder 8">
            <a:extLst>
              <a:ext uri="{FF2B5EF4-FFF2-40B4-BE49-F238E27FC236}">
                <a16:creationId xmlns:a16="http://schemas.microsoft.com/office/drawing/2014/main" id="{50D4FB9C-E568-4F75-B9EC-52FC254F4A96}"/>
              </a:ext>
            </a:extLst>
          </p:cNvPr>
          <p:cNvSpPr txBox="1"/>
          <p:nvPr/>
        </p:nvSpPr>
        <p:spPr>
          <a:xfrm>
            <a:off x="1517941" y="3426373"/>
            <a:ext cx="10056737" cy="726888"/>
          </a:xfrm>
          <a:prstGeom prst="rect">
            <a:avLst/>
          </a:prstGeom>
        </p:spPr>
        <p:txBody>
          <a:bodyPr/>
          <a:lstStyle>
            <a:lvl1pPr marL="0" indent="0" algn="l" defTabSz="913760" rtl="0" eaLnBrk="1" latinLnBrk="0" hangingPunct="1">
              <a:spcBef>
                <a:spcPct val="20000"/>
              </a:spcBef>
              <a:buClr>
                <a:schemeClr val="tx2"/>
              </a:buClr>
              <a:buSzPct val="110000"/>
              <a:buFont typeface="EYInterstate Light" panose="02000506000000020004" pitchFamily="2" charset="0"/>
              <a:buNone/>
              <a:defRPr sz="1800" kern="1200">
                <a:solidFill>
                  <a:schemeClr val="bg1"/>
                </a:solidFill>
                <a:latin typeface="EYInterstate Light" panose="02000506000000020004" pitchFamily="2" charset="0"/>
                <a:ea typeface="+mn-ea"/>
                <a:cs typeface="+mn-cs"/>
              </a:defRPr>
            </a:lvl1pPr>
            <a:lvl2pPr marL="712732" indent="-356367" algn="l" defTabSz="913760"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099" indent="-356367" algn="l" defTabSz="913760"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466" indent="-356367" algn="l" defTabSz="913760"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1832" indent="-356367" algn="l" defTabSz="913760"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2840"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9720"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6601"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3480"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r>
              <a:rPr lang="en-US" dirty="0"/>
              <a:t>There is no strong linear relationship between the features in the dataset, indicating that they are relatively independent of each other.</a:t>
            </a:r>
          </a:p>
        </p:txBody>
      </p:sp>
      <p:cxnSp>
        <p:nvCxnSpPr>
          <p:cNvPr id="14" name="Straight Connector 13">
            <a:extLst>
              <a:ext uri="{FF2B5EF4-FFF2-40B4-BE49-F238E27FC236}">
                <a16:creationId xmlns:a16="http://schemas.microsoft.com/office/drawing/2014/main" id="{C1AC01F0-73C3-C3C1-5831-2AA7ECC5F69B}"/>
              </a:ext>
            </a:extLst>
          </p:cNvPr>
          <p:cNvCxnSpPr/>
          <p:nvPr/>
        </p:nvCxnSpPr>
        <p:spPr>
          <a:xfrm flipH="1">
            <a:off x="601877" y="4280747"/>
            <a:ext cx="10972800" cy="0"/>
          </a:xfrm>
          <a:prstGeom prst="line">
            <a:avLst/>
          </a:prstGeom>
          <a:noFill/>
          <a:ln w="12700" cap="flat" cmpd="sng" algn="ctr">
            <a:gradFill flip="none" rotWithShape="1">
              <a:gsLst>
                <a:gs pos="0">
                  <a:srgbClr val="2E2E38"/>
                </a:gs>
                <a:gs pos="50000">
                  <a:srgbClr val="FFE700"/>
                </a:gs>
                <a:gs pos="99000">
                  <a:srgbClr val="2E2E38"/>
                </a:gs>
              </a:gsLst>
              <a:lin ang="0" scaled="1"/>
            </a:gradFill>
            <a:prstDash val="solid"/>
            <a:tailEnd type="none"/>
          </a:ln>
          <a:effectLst/>
        </p:spPr>
      </p:cxnSp>
      <p:sp>
        <p:nvSpPr>
          <p:cNvPr id="15" name="Oval 14">
            <a:extLst>
              <a:ext uri="{FF2B5EF4-FFF2-40B4-BE49-F238E27FC236}">
                <a16:creationId xmlns:a16="http://schemas.microsoft.com/office/drawing/2014/main" id="{0F7511F8-F4A8-9B3E-0F65-242018B9BC91}"/>
              </a:ext>
            </a:extLst>
          </p:cNvPr>
          <p:cNvSpPr/>
          <p:nvPr/>
        </p:nvSpPr>
        <p:spPr>
          <a:xfrm>
            <a:off x="601876" y="3426373"/>
            <a:ext cx="727805" cy="727805"/>
          </a:xfrm>
          <a:prstGeom prst="ellipse">
            <a:avLst/>
          </a:prstGeom>
          <a:solidFill>
            <a:srgbClr val="FFE7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dirty="0">
                <a:solidFill>
                  <a:schemeClr val="tx1"/>
                </a:solidFill>
              </a:rPr>
              <a:t>3</a:t>
            </a:r>
          </a:p>
        </p:txBody>
      </p:sp>
      <p:cxnSp>
        <p:nvCxnSpPr>
          <p:cNvPr id="16" name="Straight Connector 15">
            <a:extLst>
              <a:ext uri="{FF2B5EF4-FFF2-40B4-BE49-F238E27FC236}">
                <a16:creationId xmlns:a16="http://schemas.microsoft.com/office/drawing/2014/main" id="{5BCCB191-F2BE-DB44-C638-6CDCDAFAC8F6}"/>
              </a:ext>
            </a:extLst>
          </p:cNvPr>
          <p:cNvCxnSpPr/>
          <p:nvPr/>
        </p:nvCxnSpPr>
        <p:spPr>
          <a:xfrm flipH="1">
            <a:off x="555581" y="4269165"/>
            <a:ext cx="10972800" cy="0"/>
          </a:xfrm>
          <a:prstGeom prst="line">
            <a:avLst/>
          </a:prstGeom>
          <a:noFill/>
          <a:ln w="12700" cap="flat" cmpd="sng" algn="ctr">
            <a:gradFill flip="none" rotWithShape="1">
              <a:gsLst>
                <a:gs pos="0">
                  <a:srgbClr val="2E2E38"/>
                </a:gs>
                <a:gs pos="50000">
                  <a:srgbClr val="FFE700"/>
                </a:gs>
                <a:gs pos="99000">
                  <a:srgbClr val="2E2E38"/>
                </a:gs>
              </a:gsLst>
              <a:lin ang="0" scaled="1"/>
            </a:gradFill>
            <a:prstDash val="solid"/>
            <a:tailEnd type="none"/>
          </a:ln>
          <a:effectLst/>
        </p:spPr>
      </p:cxnSp>
      <p:sp>
        <p:nvSpPr>
          <p:cNvPr id="17" name="Text Placeholder 8">
            <a:extLst>
              <a:ext uri="{FF2B5EF4-FFF2-40B4-BE49-F238E27FC236}">
                <a16:creationId xmlns:a16="http://schemas.microsoft.com/office/drawing/2014/main" id="{C1508D8C-5996-32DC-5DD0-074E8B6B049F}"/>
              </a:ext>
            </a:extLst>
          </p:cNvPr>
          <p:cNvSpPr txBox="1"/>
          <p:nvPr/>
        </p:nvSpPr>
        <p:spPr>
          <a:xfrm>
            <a:off x="1508297" y="4481593"/>
            <a:ext cx="10056737" cy="726888"/>
          </a:xfrm>
          <a:prstGeom prst="rect">
            <a:avLst/>
          </a:prstGeom>
        </p:spPr>
        <p:txBody>
          <a:bodyPr/>
          <a:lstStyle>
            <a:lvl1pPr marL="0" indent="0" algn="l" defTabSz="913760" rtl="0" eaLnBrk="1" latinLnBrk="0" hangingPunct="1">
              <a:spcBef>
                <a:spcPct val="20000"/>
              </a:spcBef>
              <a:buClr>
                <a:schemeClr val="tx2"/>
              </a:buClr>
              <a:buSzPct val="110000"/>
              <a:buFont typeface="EYInterstate Light" panose="02000506000000020004" pitchFamily="2" charset="0"/>
              <a:buNone/>
              <a:defRPr sz="1800" kern="1200">
                <a:solidFill>
                  <a:schemeClr val="bg1"/>
                </a:solidFill>
                <a:latin typeface="EYInterstate Light" panose="02000506000000020004" pitchFamily="2" charset="0"/>
                <a:ea typeface="+mn-ea"/>
                <a:cs typeface="+mn-cs"/>
              </a:defRPr>
            </a:lvl1pPr>
            <a:lvl2pPr marL="712732" indent="-356367" algn="l" defTabSz="913760"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099" indent="-356367" algn="l" defTabSz="913760"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466" indent="-356367" algn="l" defTabSz="913760"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1832" indent="-356367" algn="l" defTabSz="913760"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2840"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9720"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6601"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3480" indent="-228440" algn="l" defTabSz="913760"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r>
              <a:rPr lang="en-US" dirty="0"/>
              <a:t>The nature of financial transactions does not lend itself to traditional forecasting methods due to the absence of repeating or sequential patterns over time</a:t>
            </a:r>
          </a:p>
        </p:txBody>
      </p:sp>
      <p:cxnSp>
        <p:nvCxnSpPr>
          <p:cNvPr id="18" name="Straight Connector 17">
            <a:extLst>
              <a:ext uri="{FF2B5EF4-FFF2-40B4-BE49-F238E27FC236}">
                <a16:creationId xmlns:a16="http://schemas.microsoft.com/office/drawing/2014/main" id="{4CE95582-6E14-CDD1-93DE-6906CCC67834}"/>
              </a:ext>
            </a:extLst>
          </p:cNvPr>
          <p:cNvCxnSpPr/>
          <p:nvPr/>
        </p:nvCxnSpPr>
        <p:spPr>
          <a:xfrm flipH="1">
            <a:off x="534358" y="5335967"/>
            <a:ext cx="10972800" cy="0"/>
          </a:xfrm>
          <a:prstGeom prst="line">
            <a:avLst/>
          </a:prstGeom>
          <a:noFill/>
          <a:ln w="12700" cap="flat" cmpd="sng" algn="ctr">
            <a:gradFill flip="none" rotWithShape="1">
              <a:gsLst>
                <a:gs pos="0">
                  <a:srgbClr val="2E2E38"/>
                </a:gs>
                <a:gs pos="50000">
                  <a:srgbClr val="FFE700"/>
                </a:gs>
                <a:gs pos="99000">
                  <a:srgbClr val="2E2E38"/>
                </a:gs>
              </a:gsLst>
              <a:lin ang="0" scaled="1"/>
            </a:gradFill>
            <a:prstDash val="solid"/>
            <a:tailEnd type="none"/>
          </a:ln>
          <a:effectLst/>
        </p:spPr>
      </p:cxnSp>
      <p:sp>
        <p:nvSpPr>
          <p:cNvPr id="19" name="Oval 18">
            <a:extLst>
              <a:ext uri="{FF2B5EF4-FFF2-40B4-BE49-F238E27FC236}">
                <a16:creationId xmlns:a16="http://schemas.microsoft.com/office/drawing/2014/main" id="{44B245B2-FBFF-0A75-41AB-6BF20887F27C}"/>
              </a:ext>
            </a:extLst>
          </p:cNvPr>
          <p:cNvSpPr/>
          <p:nvPr/>
        </p:nvSpPr>
        <p:spPr>
          <a:xfrm>
            <a:off x="626958" y="4481593"/>
            <a:ext cx="727284" cy="738589"/>
          </a:xfrm>
          <a:prstGeom prst="ellipse">
            <a:avLst/>
          </a:prstGeom>
          <a:solidFill>
            <a:srgbClr val="FFE7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dirty="0">
                <a:solidFill>
                  <a:schemeClr val="tx1"/>
                </a:solidFill>
              </a:rPr>
              <a:t>4</a:t>
            </a:r>
          </a:p>
        </p:txBody>
      </p:sp>
    </p:spTree>
    <p:extLst>
      <p:ext uri="{BB962C8B-B14F-4D97-AF65-F5344CB8AC3E}">
        <p14:creationId xmlns:p14="http://schemas.microsoft.com/office/powerpoint/2010/main" val="190115868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56DDF-7BEB-983D-429B-771B23CFA6E2}"/>
              </a:ext>
            </a:extLst>
          </p:cNvPr>
          <p:cNvSpPr>
            <a:spLocks noGrp="1"/>
          </p:cNvSpPr>
          <p:nvPr>
            <p:ph type="title"/>
          </p:nvPr>
        </p:nvSpPr>
        <p:spPr>
          <a:xfrm>
            <a:off x="609601" y="271051"/>
            <a:ext cx="10972800" cy="590880"/>
          </a:xfrm>
        </p:spPr>
        <p:txBody>
          <a:bodyPr/>
          <a:lstStyle/>
          <a:p>
            <a:r>
              <a:rPr lang="es-ES_tradnl" dirty="0"/>
              <a:t>Dataset </a:t>
            </a:r>
            <a:r>
              <a:rPr lang="es-ES_tradnl" dirty="0" err="1"/>
              <a:t>Analysis</a:t>
            </a:r>
            <a:r>
              <a:rPr lang="es-ES_tradnl" dirty="0"/>
              <a:t>: </a:t>
            </a:r>
            <a:r>
              <a:rPr lang="es-ES_tradnl" dirty="0" err="1"/>
              <a:t>Distribution</a:t>
            </a:r>
            <a:r>
              <a:rPr lang="es-ES_tradnl" dirty="0"/>
              <a:t> </a:t>
            </a:r>
            <a:r>
              <a:rPr lang="es-ES_tradnl" dirty="0" err="1"/>
              <a:t>of</a:t>
            </a:r>
            <a:r>
              <a:rPr lang="es-ES_tradnl" dirty="0"/>
              <a:t> </a:t>
            </a:r>
            <a:r>
              <a:rPr lang="es-ES_tradnl" dirty="0" err="1"/>
              <a:t>Transaction</a:t>
            </a:r>
            <a:r>
              <a:rPr lang="es-ES_tradnl" dirty="0"/>
              <a:t> </a:t>
            </a:r>
            <a:r>
              <a:rPr lang="es-ES_tradnl" dirty="0" err="1"/>
              <a:t>Amounts</a:t>
            </a:r>
            <a:endParaRPr lang="en-US" dirty="0"/>
          </a:p>
        </p:txBody>
      </p:sp>
      <p:sp>
        <p:nvSpPr>
          <p:cNvPr id="3" name="Date Placeholder 2">
            <a:extLst>
              <a:ext uri="{FF2B5EF4-FFF2-40B4-BE49-F238E27FC236}">
                <a16:creationId xmlns:a16="http://schemas.microsoft.com/office/drawing/2014/main" id="{C0D9190F-F9A8-809C-D7F6-F3D90437AFD0}"/>
              </a:ext>
            </a:extLst>
          </p:cNvPr>
          <p:cNvSpPr>
            <a:spLocks noGrp="1"/>
          </p:cNvSpPr>
          <p:nvPr>
            <p:ph type="dt" sz="half" idx="10"/>
          </p:nvPr>
        </p:nvSpPr>
        <p:spPr/>
        <p:txBody>
          <a:bodyPr/>
          <a:lstStyle/>
          <a:p>
            <a:fld id="{1A365095-FA53-4FE3-B4B0-2582A528C225}" type="datetime3">
              <a:rPr lang="en-US" smtClean="0"/>
              <a:t>11 May 2024</a:t>
            </a:fld>
            <a:endParaRPr lang="en-IN"/>
          </a:p>
        </p:txBody>
      </p:sp>
      <p:sp>
        <p:nvSpPr>
          <p:cNvPr id="4" name="Slide Number Placeholder 3">
            <a:extLst>
              <a:ext uri="{FF2B5EF4-FFF2-40B4-BE49-F238E27FC236}">
                <a16:creationId xmlns:a16="http://schemas.microsoft.com/office/drawing/2014/main" id="{EB51BC7D-DFCF-2BBF-2279-F55F1783EF41}"/>
              </a:ext>
            </a:extLst>
          </p:cNvPr>
          <p:cNvSpPr>
            <a:spLocks noGrp="1"/>
          </p:cNvSpPr>
          <p:nvPr>
            <p:ph type="sldNum" sz="quarter" idx="12"/>
          </p:nvPr>
        </p:nvSpPr>
        <p:spPr/>
        <p:txBody>
          <a:bodyPr/>
          <a:lstStyle/>
          <a:p>
            <a:r>
              <a:rPr lang="en-GB"/>
              <a:t>Page </a:t>
            </a:r>
            <a:fld id="{F1BC30E3-FFE5-4B91-AA19-87A149EBB9EE}" type="slidenum">
              <a:rPr smtClean="0"/>
              <a:t>3</a:t>
            </a:fld>
            <a:endParaRPr/>
          </a:p>
        </p:txBody>
      </p:sp>
      <p:sp>
        <p:nvSpPr>
          <p:cNvPr id="7" name="Text Placeholder 2">
            <a:extLst>
              <a:ext uri="{FF2B5EF4-FFF2-40B4-BE49-F238E27FC236}">
                <a16:creationId xmlns:a16="http://schemas.microsoft.com/office/drawing/2014/main" id="{040C8692-A1BD-2DC8-1461-71DC1FC0D399}"/>
              </a:ext>
            </a:extLst>
          </p:cNvPr>
          <p:cNvSpPr txBox="1">
            <a:spLocks/>
          </p:cNvSpPr>
          <p:nvPr/>
        </p:nvSpPr>
        <p:spPr>
          <a:xfrm>
            <a:off x="616899" y="1608881"/>
            <a:ext cx="4580133" cy="385437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10000"/>
              </a:lnSpc>
            </a:pPr>
            <a:r>
              <a:rPr lang="en-US" sz="1800" dirty="0">
                <a:solidFill>
                  <a:srgbClr val="FFFFFF"/>
                </a:solidFill>
                <a:latin typeface="+mn-lt"/>
              </a:rPr>
              <a:t>The dataset's transaction amounts exhibit a skewed distribution, with transactions between 0 to 200 units being most prevalent. This skewness can:</a:t>
            </a:r>
          </a:p>
          <a:p>
            <a:pPr algn="just">
              <a:lnSpc>
                <a:spcPct val="110000"/>
              </a:lnSpc>
            </a:pPr>
            <a:endParaRPr lang="en-US" sz="1800" dirty="0">
              <a:solidFill>
                <a:srgbClr val="FFFFFF"/>
              </a:solidFill>
              <a:latin typeface="+mn-lt"/>
            </a:endParaRPr>
          </a:p>
          <a:p>
            <a:pPr marL="285750" indent="-285750" algn="just">
              <a:lnSpc>
                <a:spcPct val="110000"/>
              </a:lnSpc>
              <a:buFont typeface="Arial" panose="020B0604020202020204" pitchFamily="34" charset="0"/>
              <a:buChar char="•"/>
            </a:pPr>
            <a:r>
              <a:rPr lang="en-US" sz="1800" dirty="0">
                <a:solidFill>
                  <a:srgbClr val="FFFFFF"/>
                </a:solidFill>
                <a:latin typeface="+mn-lt"/>
              </a:rPr>
              <a:t>Challenge prediction accuracy for less frequent or extreme transaction values.</a:t>
            </a:r>
          </a:p>
          <a:p>
            <a:pPr marL="285750" indent="-285750" algn="just">
              <a:lnSpc>
                <a:spcPct val="110000"/>
              </a:lnSpc>
              <a:buFont typeface="Arial" panose="020B0604020202020204" pitchFamily="34" charset="0"/>
              <a:buChar char="•"/>
            </a:pPr>
            <a:r>
              <a:rPr lang="en-US" sz="1800" dirty="0">
                <a:solidFill>
                  <a:srgbClr val="FFFFFF"/>
                </a:solidFill>
                <a:latin typeface="+mn-lt"/>
              </a:rPr>
              <a:t>Potentially bias model performance towards optimizing predictions for common transaction amounts.</a:t>
            </a:r>
          </a:p>
        </p:txBody>
      </p:sp>
      <p:pic>
        <p:nvPicPr>
          <p:cNvPr id="6" name="Picture 5">
            <a:extLst>
              <a:ext uri="{FF2B5EF4-FFF2-40B4-BE49-F238E27FC236}">
                <a16:creationId xmlns:a16="http://schemas.microsoft.com/office/drawing/2014/main" id="{7E437967-7789-88FB-0A8F-171E146BA15A}"/>
              </a:ext>
            </a:extLst>
          </p:cNvPr>
          <p:cNvPicPr>
            <a:picLocks noChangeAspect="1"/>
          </p:cNvPicPr>
          <p:nvPr/>
        </p:nvPicPr>
        <p:blipFill>
          <a:blip r:embed="rId3"/>
          <a:stretch>
            <a:fillRect/>
          </a:stretch>
        </p:blipFill>
        <p:spPr>
          <a:xfrm>
            <a:off x="5737397" y="1170753"/>
            <a:ext cx="5779411" cy="4327224"/>
          </a:xfrm>
          <a:prstGeom prst="rect">
            <a:avLst/>
          </a:prstGeom>
        </p:spPr>
      </p:pic>
    </p:spTree>
    <p:extLst>
      <p:ext uri="{BB962C8B-B14F-4D97-AF65-F5344CB8AC3E}">
        <p14:creationId xmlns:p14="http://schemas.microsoft.com/office/powerpoint/2010/main" val="261533291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4FD025-5FDA-A6EC-E4C1-E4F847C022AB}"/>
              </a:ext>
            </a:extLst>
          </p:cNvPr>
          <p:cNvSpPr>
            <a:spLocks noGrp="1"/>
          </p:cNvSpPr>
          <p:nvPr>
            <p:ph type="title"/>
          </p:nvPr>
        </p:nvSpPr>
        <p:spPr/>
        <p:txBody>
          <a:bodyPr/>
          <a:lstStyle/>
          <a:p>
            <a:r>
              <a:rPr lang="en-US" dirty="0"/>
              <a:t>Handling Imbalanced Data</a:t>
            </a:r>
          </a:p>
        </p:txBody>
      </p:sp>
      <p:sp>
        <p:nvSpPr>
          <p:cNvPr id="3" name="Date Placeholder 2">
            <a:extLst>
              <a:ext uri="{FF2B5EF4-FFF2-40B4-BE49-F238E27FC236}">
                <a16:creationId xmlns:a16="http://schemas.microsoft.com/office/drawing/2014/main" id="{9AE1390A-7ADD-1DE2-0434-6FF18EA24B1F}"/>
              </a:ext>
            </a:extLst>
          </p:cNvPr>
          <p:cNvSpPr>
            <a:spLocks noGrp="1"/>
          </p:cNvSpPr>
          <p:nvPr>
            <p:ph type="dt" sz="half" idx="10"/>
          </p:nvPr>
        </p:nvSpPr>
        <p:spPr/>
        <p:txBody>
          <a:bodyPr/>
          <a:lstStyle/>
          <a:p>
            <a:fld id="{9AE09D67-BA5F-424F-852E-4C13A3F1671F}" type="datetime3">
              <a:rPr lang="en-US" smtClean="0"/>
              <a:t>11 May 2024</a:t>
            </a:fld>
            <a:endParaRPr lang="en-IN" dirty="0"/>
          </a:p>
        </p:txBody>
      </p:sp>
      <p:sp>
        <p:nvSpPr>
          <p:cNvPr id="4" name="Slide Number Placeholder 3">
            <a:extLst>
              <a:ext uri="{FF2B5EF4-FFF2-40B4-BE49-F238E27FC236}">
                <a16:creationId xmlns:a16="http://schemas.microsoft.com/office/drawing/2014/main" id="{2C1A0608-2267-A802-F444-873C58A365EE}"/>
              </a:ext>
            </a:extLst>
          </p:cNvPr>
          <p:cNvSpPr>
            <a:spLocks noGrp="1"/>
          </p:cNvSpPr>
          <p:nvPr>
            <p:ph type="sldNum" sz="quarter" idx="12"/>
          </p:nvPr>
        </p:nvSpPr>
        <p:spPr/>
        <p:txBody>
          <a:bodyPr/>
          <a:lstStyle/>
          <a:p>
            <a:r>
              <a:rPr lang="en-GB"/>
              <a:t>Page </a:t>
            </a:r>
            <a:fld id="{F1BC30E3-FFE5-4B91-AA19-87A149EBB9EE}" type="slidenum">
              <a:rPr smtClean="0"/>
              <a:t>4</a:t>
            </a:fld>
            <a:endParaRPr/>
          </a:p>
        </p:txBody>
      </p:sp>
      <p:sp>
        <p:nvSpPr>
          <p:cNvPr id="5" name="Text Placeholder 2">
            <a:extLst>
              <a:ext uri="{FF2B5EF4-FFF2-40B4-BE49-F238E27FC236}">
                <a16:creationId xmlns:a16="http://schemas.microsoft.com/office/drawing/2014/main" id="{578EA3F3-0473-98AA-BD14-74138BCED8B8}"/>
              </a:ext>
            </a:extLst>
          </p:cNvPr>
          <p:cNvSpPr txBox="1">
            <a:spLocks/>
          </p:cNvSpPr>
          <p:nvPr/>
        </p:nvSpPr>
        <p:spPr>
          <a:xfrm>
            <a:off x="520861" y="1319514"/>
            <a:ext cx="11053823" cy="4942389"/>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10000"/>
              </a:lnSpc>
            </a:pPr>
            <a:r>
              <a:rPr lang="en-US" sz="1800" dirty="0">
                <a:solidFill>
                  <a:srgbClr val="FFFFFF"/>
                </a:solidFill>
                <a:latin typeface="+mn-lt"/>
              </a:rPr>
              <a:t>Addressing the imbalance in sample sizes across transaction amount ranges is crucial for developing robust predictive models. Two common approaches are oversampling and </a:t>
            </a:r>
            <a:r>
              <a:rPr lang="en-US" sz="1800" dirty="0" err="1">
                <a:solidFill>
                  <a:srgbClr val="FFFFFF"/>
                </a:solidFill>
                <a:latin typeface="+mn-lt"/>
              </a:rPr>
              <a:t>undersampling</a:t>
            </a:r>
            <a:r>
              <a:rPr lang="en-US" sz="1800" dirty="0">
                <a:solidFill>
                  <a:srgbClr val="FFFFFF"/>
                </a:solidFill>
                <a:latin typeface="+mn-lt"/>
              </a:rPr>
              <a:t>.</a:t>
            </a:r>
          </a:p>
          <a:p>
            <a:pPr marL="285750" indent="-285750" algn="just">
              <a:lnSpc>
                <a:spcPct val="110000"/>
              </a:lnSpc>
              <a:buFont typeface="Arial" panose="020B0604020202020204" pitchFamily="34" charset="0"/>
              <a:buChar char="•"/>
            </a:pPr>
            <a:r>
              <a:rPr lang="en-US" sz="1800" b="1" dirty="0">
                <a:solidFill>
                  <a:schemeClr val="tx2"/>
                </a:solidFill>
                <a:latin typeface="+mn-lt"/>
              </a:rPr>
              <a:t>Oversampling</a:t>
            </a:r>
            <a:r>
              <a:rPr lang="en-US" sz="1800" dirty="0">
                <a:solidFill>
                  <a:srgbClr val="FFFFFF"/>
                </a:solidFill>
                <a:latin typeface="+mn-lt"/>
              </a:rPr>
              <a:t>:</a:t>
            </a:r>
          </a:p>
          <a:p>
            <a:pPr marL="557213" lvl="1" indent="-285750" algn="just">
              <a:lnSpc>
                <a:spcPct val="110000"/>
              </a:lnSpc>
              <a:buFont typeface="Arial" panose="020B0604020202020204" pitchFamily="34" charset="0"/>
              <a:buChar char="•"/>
            </a:pPr>
            <a:r>
              <a:rPr lang="en-US" sz="1800" dirty="0">
                <a:solidFill>
                  <a:srgbClr val="FFFFFF"/>
                </a:solidFill>
                <a:latin typeface="+mn-lt"/>
              </a:rPr>
              <a:t>Involves increasing the number of instances in the minority class to balance the class distribution.</a:t>
            </a:r>
          </a:p>
          <a:p>
            <a:pPr marL="557213" lvl="1" indent="-285750" algn="just">
              <a:lnSpc>
                <a:spcPct val="110000"/>
              </a:lnSpc>
              <a:buFont typeface="Arial" panose="020B0604020202020204" pitchFamily="34" charset="0"/>
              <a:buChar char="•"/>
            </a:pPr>
            <a:r>
              <a:rPr lang="en-US" sz="1800" b="1" dirty="0">
                <a:solidFill>
                  <a:srgbClr val="FFFFFF"/>
                </a:solidFill>
                <a:latin typeface="+mn-lt"/>
              </a:rPr>
              <a:t>Challenge</a:t>
            </a:r>
            <a:r>
              <a:rPr lang="en-US" sz="1800" dirty="0">
                <a:solidFill>
                  <a:srgbClr val="FFFFFF"/>
                </a:solidFill>
                <a:latin typeface="+mn-lt"/>
              </a:rPr>
              <a:t>: The dataset's skewed distribution and limited number of samples make traditional oversampling techniques like SMOTE impractical, as generating synthetic samples may not effectively address the imbalance.</a:t>
            </a:r>
          </a:p>
          <a:p>
            <a:pPr marL="285750" indent="-285750" algn="just">
              <a:lnSpc>
                <a:spcPct val="110000"/>
              </a:lnSpc>
              <a:buFont typeface="Arial" panose="020B0604020202020204" pitchFamily="34" charset="0"/>
              <a:buChar char="•"/>
            </a:pPr>
            <a:r>
              <a:rPr lang="en-US" sz="1800" b="1" dirty="0" err="1">
                <a:solidFill>
                  <a:schemeClr val="tx2"/>
                </a:solidFill>
                <a:latin typeface="+mn-lt"/>
              </a:rPr>
              <a:t>Undersampling</a:t>
            </a:r>
            <a:r>
              <a:rPr lang="en-US" sz="1800" dirty="0">
                <a:solidFill>
                  <a:srgbClr val="FFFFFF"/>
                </a:solidFill>
                <a:latin typeface="+mn-lt"/>
              </a:rPr>
              <a:t>:</a:t>
            </a:r>
          </a:p>
          <a:p>
            <a:pPr marL="557213" lvl="1" indent="-285750" algn="just">
              <a:lnSpc>
                <a:spcPct val="110000"/>
              </a:lnSpc>
              <a:buFont typeface="Arial" panose="020B0604020202020204" pitchFamily="34" charset="0"/>
              <a:buChar char="•"/>
            </a:pPr>
            <a:r>
              <a:rPr lang="en-US" sz="1800" dirty="0">
                <a:solidFill>
                  <a:srgbClr val="FFFFFF"/>
                </a:solidFill>
                <a:latin typeface="+mn-lt"/>
              </a:rPr>
              <a:t>Involves reducing the number of instances in the majority class to balance the class distribution.</a:t>
            </a:r>
          </a:p>
          <a:p>
            <a:pPr marL="557213" lvl="1" indent="-285750" algn="just">
              <a:lnSpc>
                <a:spcPct val="110000"/>
              </a:lnSpc>
              <a:buFont typeface="Arial" panose="020B0604020202020204" pitchFamily="34" charset="0"/>
              <a:buChar char="•"/>
            </a:pPr>
            <a:r>
              <a:rPr lang="en-US" sz="1800" b="1" dirty="0">
                <a:solidFill>
                  <a:srgbClr val="FFFFFF"/>
                </a:solidFill>
                <a:latin typeface="+mn-lt"/>
              </a:rPr>
              <a:t>Challenge</a:t>
            </a:r>
            <a:r>
              <a:rPr lang="en-US" sz="1800" dirty="0">
                <a:solidFill>
                  <a:srgbClr val="FFFFFF"/>
                </a:solidFill>
                <a:latin typeface="+mn-lt"/>
              </a:rPr>
              <a:t>: </a:t>
            </a:r>
            <a:r>
              <a:rPr lang="en-US" sz="1800" dirty="0" err="1">
                <a:solidFill>
                  <a:srgbClr val="FFFFFF"/>
                </a:solidFill>
                <a:latin typeface="+mn-lt"/>
              </a:rPr>
              <a:t>Undersampling</a:t>
            </a:r>
            <a:r>
              <a:rPr lang="en-US" sz="1800" dirty="0">
                <a:solidFill>
                  <a:srgbClr val="FFFFFF"/>
                </a:solidFill>
                <a:latin typeface="+mn-lt"/>
              </a:rPr>
              <a:t> may result in the loss of crucial information and patterns present in the majority class, potentially leading to biased or less accurate predictions.</a:t>
            </a:r>
          </a:p>
          <a:p>
            <a:pPr marL="285750" indent="-285750" algn="just">
              <a:lnSpc>
                <a:spcPct val="110000"/>
              </a:lnSpc>
              <a:buFont typeface="Arial" panose="020B0604020202020204" pitchFamily="34" charset="0"/>
              <a:buChar char="•"/>
            </a:pPr>
            <a:endParaRPr lang="en-US" sz="1800" dirty="0">
              <a:solidFill>
                <a:srgbClr val="FFFFFF"/>
              </a:solidFill>
              <a:latin typeface="+mn-lt"/>
            </a:endParaRPr>
          </a:p>
        </p:txBody>
      </p:sp>
    </p:spTree>
    <p:extLst>
      <p:ext uri="{BB962C8B-B14F-4D97-AF65-F5344CB8AC3E}">
        <p14:creationId xmlns:p14="http://schemas.microsoft.com/office/powerpoint/2010/main" val="1005440719"/>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4FD025-5FDA-A6EC-E4C1-E4F847C022AB}"/>
              </a:ext>
            </a:extLst>
          </p:cNvPr>
          <p:cNvSpPr>
            <a:spLocks noGrp="1"/>
          </p:cNvSpPr>
          <p:nvPr>
            <p:ph type="title"/>
          </p:nvPr>
        </p:nvSpPr>
        <p:spPr/>
        <p:txBody>
          <a:bodyPr/>
          <a:lstStyle/>
          <a:p>
            <a:r>
              <a:rPr lang="en-US" dirty="0"/>
              <a:t>Model Development Process Overview</a:t>
            </a:r>
          </a:p>
        </p:txBody>
      </p:sp>
      <p:sp>
        <p:nvSpPr>
          <p:cNvPr id="3" name="Date Placeholder 2">
            <a:extLst>
              <a:ext uri="{FF2B5EF4-FFF2-40B4-BE49-F238E27FC236}">
                <a16:creationId xmlns:a16="http://schemas.microsoft.com/office/drawing/2014/main" id="{9AE1390A-7ADD-1DE2-0434-6FF18EA24B1F}"/>
              </a:ext>
            </a:extLst>
          </p:cNvPr>
          <p:cNvSpPr>
            <a:spLocks noGrp="1"/>
          </p:cNvSpPr>
          <p:nvPr>
            <p:ph type="dt" sz="half" idx="10"/>
          </p:nvPr>
        </p:nvSpPr>
        <p:spPr/>
        <p:txBody>
          <a:bodyPr/>
          <a:lstStyle/>
          <a:p>
            <a:fld id="{9AE09D67-BA5F-424F-852E-4C13A3F1671F}" type="datetime3">
              <a:rPr lang="en-US" smtClean="0"/>
              <a:t>11 May 2024</a:t>
            </a:fld>
            <a:endParaRPr lang="en-IN" dirty="0"/>
          </a:p>
        </p:txBody>
      </p:sp>
      <p:sp>
        <p:nvSpPr>
          <p:cNvPr id="4" name="Slide Number Placeholder 3">
            <a:extLst>
              <a:ext uri="{FF2B5EF4-FFF2-40B4-BE49-F238E27FC236}">
                <a16:creationId xmlns:a16="http://schemas.microsoft.com/office/drawing/2014/main" id="{2C1A0608-2267-A802-F444-873C58A365EE}"/>
              </a:ext>
            </a:extLst>
          </p:cNvPr>
          <p:cNvSpPr>
            <a:spLocks noGrp="1"/>
          </p:cNvSpPr>
          <p:nvPr>
            <p:ph type="sldNum" sz="quarter" idx="12"/>
          </p:nvPr>
        </p:nvSpPr>
        <p:spPr/>
        <p:txBody>
          <a:bodyPr/>
          <a:lstStyle/>
          <a:p>
            <a:r>
              <a:rPr lang="en-GB"/>
              <a:t>Page </a:t>
            </a:r>
            <a:fld id="{F1BC30E3-FFE5-4B91-AA19-87A149EBB9EE}" type="slidenum">
              <a:rPr smtClean="0"/>
              <a:t>5</a:t>
            </a:fld>
            <a:endParaRPr/>
          </a:p>
        </p:txBody>
      </p:sp>
      <p:sp>
        <p:nvSpPr>
          <p:cNvPr id="5" name="Text Placeholder 2">
            <a:extLst>
              <a:ext uri="{FF2B5EF4-FFF2-40B4-BE49-F238E27FC236}">
                <a16:creationId xmlns:a16="http://schemas.microsoft.com/office/drawing/2014/main" id="{578EA3F3-0473-98AA-BD14-74138BCED8B8}"/>
              </a:ext>
            </a:extLst>
          </p:cNvPr>
          <p:cNvSpPr txBox="1">
            <a:spLocks/>
          </p:cNvSpPr>
          <p:nvPr/>
        </p:nvSpPr>
        <p:spPr>
          <a:xfrm>
            <a:off x="590309" y="1319514"/>
            <a:ext cx="10995950" cy="4942389"/>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10000"/>
              </a:lnSpc>
            </a:pPr>
            <a:r>
              <a:rPr lang="en-US" sz="1800" dirty="0">
                <a:solidFill>
                  <a:schemeClr val="tx2"/>
                </a:solidFill>
                <a:latin typeface="+mn-lt"/>
              </a:rPr>
              <a:t>Data Preprocessing</a:t>
            </a:r>
          </a:p>
          <a:p>
            <a:pPr marL="285750" indent="-285750" algn="just">
              <a:lnSpc>
                <a:spcPct val="110000"/>
              </a:lnSpc>
              <a:buFont typeface="Arial" panose="020B0604020202020204" pitchFamily="34" charset="0"/>
              <a:buChar char="•"/>
            </a:pPr>
            <a:r>
              <a:rPr lang="en-US" sz="1800" dirty="0">
                <a:solidFill>
                  <a:srgbClr val="FFFFFF"/>
                </a:solidFill>
                <a:latin typeface="+mn-lt"/>
              </a:rPr>
              <a:t>Removed irrelevant features and handled missing values.</a:t>
            </a:r>
          </a:p>
          <a:p>
            <a:pPr marL="285750" indent="-285750" algn="just">
              <a:lnSpc>
                <a:spcPct val="110000"/>
              </a:lnSpc>
              <a:buFont typeface="Arial" panose="020B0604020202020204" pitchFamily="34" charset="0"/>
              <a:buChar char="•"/>
            </a:pPr>
            <a:r>
              <a:rPr lang="en-US" sz="1800" dirty="0">
                <a:solidFill>
                  <a:srgbClr val="FFFFFF"/>
                </a:solidFill>
                <a:latin typeface="+mn-lt"/>
              </a:rPr>
              <a:t>Engineered new features and encoded categorical variables.</a:t>
            </a:r>
          </a:p>
          <a:p>
            <a:pPr marL="285750" indent="-285750" algn="just">
              <a:lnSpc>
                <a:spcPct val="110000"/>
              </a:lnSpc>
              <a:buFont typeface="Arial" panose="020B0604020202020204" pitchFamily="34" charset="0"/>
              <a:buChar char="•"/>
            </a:pPr>
            <a:r>
              <a:rPr lang="en-US" sz="1800" dirty="0">
                <a:solidFill>
                  <a:srgbClr val="FFFFFF"/>
                </a:solidFill>
                <a:latin typeface="+mn-lt"/>
              </a:rPr>
              <a:t>Implemented random </a:t>
            </a:r>
            <a:r>
              <a:rPr lang="en-US" sz="1800" dirty="0" err="1">
                <a:solidFill>
                  <a:srgbClr val="FFFFFF"/>
                </a:solidFill>
                <a:latin typeface="+mn-lt"/>
              </a:rPr>
              <a:t>undersampling</a:t>
            </a:r>
            <a:r>
              <a:rPr lang="en-US" sz="1800" dirty="0">
                <a:solidFill>
                  <a:srgbClr val="FFFFFF"/>
                </a:solidFill>
                <a:latin typeface="+mn-lt"/>
              </a:rPr>
              <a:t> for class imbalance.</a:t>
            </a:r>
          </a:p>
          <a:p>
            <a:pPr algn="just">
              <a:lnSpc>
                <a:spcPct val="110000"/>
              </a:lnSpc>
            </a:pPr>
            <a:r>
              <a:rPr lang="en-US" sz="1800" dirty="0">
                <a:solidFill>
                  <a:schemeClr val="tx2"/>
                </a:solidFill>
                <a:latin typeface="+mn-lt"/>
              </a:rPr>
              <a:t>Model Training</a:t>
            </a:r>
            <a:endParaRPr lang="en-US" sz="1800" dirty="0">
              <a:solidFill>
                <a:srgbClr val="FFFFFF"/>
              </a:solidFill>
              <a:latin typeface="+mn-lt"/>
            </a:endParaRPr>
          </a:p>
          <a:p>
            <a:pPr marL="285750" indent="-285750" algn="just">
              <a:lnSpc>
                <a:spcPct val="110000"/>
              </a:lnSpc>
              <a:buFont typeface="Arial" panose="020B0604020202020204" pitchFamily="34" charset="0"/>
              <a:buChar char="•"/>
            </a:pPr>
            <a:r>
              <a:rPr lang="en-US" sz="1800" dirty="0">
                <a:solidFill>
                  <a:srgbClr val="FFFFFF"/>
                </a:solidFill>
                <a:latin typeface="+mn-lt"/>
              </a:rPr>
              <a:t>Conducted cross-validation during training to ensure model robustness.</a:t>
            </a:r>
          </a:p>
          <a:p>
            <a:pPr marL="285750" indent="-285750" algn="just">
              <a:lnSpc>
                <a:spcPct val="110000"/>
              </a:lnSpc>
              <a:buFont typeface="Arial" panose="020B0604020202020204" pitchFamily="34" charset="0"/>
              <a:buChar char="•"/>
            </a:pPr>
            <a:r>
              <a:rPr lang="en-US" sz="1800" dirty="0">
                <a:solidFill>
                  <a:srgbClr val="FFFFFF"/>
                </a:solidFill>
                <a:latin typeface="+mn-lt"/>
              </a:rPr>
              <a:t>Tuned hyperparameters using cross-validated Bayesian optimization.</a:t>
            </a:r>
          </a:p>
          <a:p>
            <a:pPr algn="just">
              <a:lnSpc>
                <a:spcPct val="110000"/>
              </a:lnSpc>
            </a:pPr>
            <a:r>
              <a:rPr lang="en-US" sz="1800" dirty="0">
                <a:solidFill>
                  <a:schemeClr val="tx2"/>
                </a:solidFill>
                <a:latin typeface="+mn-lt"/>
              </a:rPr>
              <a:t>Evaluation</a:t>
            </a:r>
          </a:p>
          <a:p>
            <a:pPr marL="285750" indent="-285750" algn="just">
              <a:lnSpc>
                <a:spcPct val="110000"/>
              </a:lnSpc>
              <a:buFont typeface="Arial" panose="020B0604020202020204" pitchFamily="34" charset="0"/>
              <a:buChar char="•"/>
            </a:pPr>
            <a:r>
              <a:rPr lang="en-US" sz="1800" dirty="0">
                <a:solidFill>
                  <a:srgbClr val="FFFFFF"/>
                </a:solidFill>
                <a:latin typeface="+mn-lt"/>
              </a:rPr>
              <a:t>Assessed model performance using metrics like MSE, RMSE, MAE, and R2.</a:t>
            </a:r>
          </a:p>
        </p:txBody>
      </p:sp>
    </p:spTree>
    <p:extLst>
      <p:ext uri="{BB962C8B-B14F-4D97-AF65-F5344CB8AC3E}">
        <p14:creationId xmlns:p14="http://schemas.microsoft.com/office/powerpoint/2010/main" val="89827919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8D135415-E100-F0B5-85C6-2432028A1D50}"/>
              </a:ext>
            </a:extLst>
          </p:cNvPr>
          <p:cNvSpPr>
            <a:spLocks noGrp="1"/>
          </p:cNvSpPr>
          <p:nvPr>
            <p:ph type="title"/>
          </p:nvPr>
        </p:nvSpPr>
        <p:spPr/>
        <p:txBody>
          <a:bodyPr/>
          <a:lstStyle/>
          <a:p>
            <a:r>
              <a:rPr lang="es-ES_tradnl" dirty="0" err="1"/>
              <a:t>Model</a:t>
            </a:r>
            <a:r>
              <a:rPr lang="es-ES_tradnl" dirty="0"/>
              <a:t> </a:t>
            </a:r>
            <a:r>
              <a:rPr lang="es-ES_tradnl" dirty="0" err="1"/>
              <a:t>Evaluation</a:t>
            </a:r>
            <a:r>
              <a:rPr lang="es-ES_tradnl" dirty="0"/>
              <a:t> </a:t>
            </a:r>
            <a:r>
              <a:rPr lang="es-ES_tradnl" dirty="0" err="1"/>
              <a:t>Results</a:t>
            </a:r>
            <a:endParaRPr lang="en-US" dirty="0"/>
          </a:p>
        </p:txBody>
      </p:sp>
      <p:sp>
        <p:nvSpPr>
          <p:cNvPr id="3" name="Date Placeholder 2">
            <a:extLst>
              <a:ext uri="{FF2B5EF4-FFF2-40B4-BE49-F238E27FC236}">
                <a16:creationId xmlns:a16="http://schemas.microsoft.com/office/drawing/2014/main" id="{4C06B66F-52A6-A65B-3FF1-8D94D0B20C06}"/>
              </a:ext>
            </a:extLst>
          </p:cNvPr>
          <p:cNvSpPr>
            <a:spLocks noGrp="1"/>
          </p:cNvSpPr>
          <p:nvPr>
            <p:ph type="dt" sz="half" idx="10"/>
          </p:nvPr>
        </p:nvSpPr>
        <p:spPr>
          <a:xfrm>
            <a:off x="1674025" y="6473800"/>
            <a:ext cx="1190638" cy="180000"/>
          </a:xfrm>
        </p:spPr>
        <p:txBody>
          <a:bodyPr/>
          <a:lstStyle/>
          <a:p>
            <a:fld id="{96C433C2-D5AC-42D8-A415-DF1235E3FE86}" type="datetime3">
              <a:rPr lang="en-US" smtClean="0"/>
              <a:t>11 May 2024</a:t>
            </a:fld>
            <a:endParaRPr lang="en-IN" dirty="0"/>
          </a:p>
        </p:txBody>
      </p:sp>
      <p:sp>
        <p:nvSpPr>
          <p:cNvPr id="5" name="Slide Number Placeholder 4">
            <a:extLst>
              <a:ext uri="{FF2B5EF4-FFF2-40B4-BE49-F238E27FC236}">
                <a16:creationId xmlns:a16="http://schemas.microsoft.com/office/drawing/2014/main" id="{A5A7B773-ED10-13F5-CA65-87E8A8F4B113}"/>
              </a:ext>
            </a:extLst>
          </p:cNvPr>
          <p:cNvSpPr>
            <a:spLocks noGrp="1"/>
          </p:cNvSpPr>
          <p:nvPr>
            <p:ph type="sldNum" sz="quarter" idx="12"/>
          </p:nvPr>
        </p:nvSpPr>
        <p:spPr>
          <a:xfrm>
            <a:off x="622603" y="6473800"/>
            <a:ext cx="662721" cy="180000"/>
          </a:xfrm>
        </p:spPr>
        <p:txBody>
          <a:bodyPr/>
          <a:lstStyle/>
          <a:p>
            <a:r>
              <a:rPr lang="en-GB"/>
              <a:t>Page </a:t>
            </a:r>
            <a:fld id="{F1BC30E3-FFE5-4B91-AA19-87A149EBB9EE}" type="slidenum">
              <a:rPr smtClean="0"/>
              <a:t>6</a:t>
            </a:fld>
            <a:endParaRPr/>
          </a:p>
        </p:txBody>
      </p:sp>
      <p:pic>
        <p:nvPicPr>
          <p:cNvPr id="4" name="Picture Placeholder 3">
            <a:extLst>
              <a:ext uri="{FF2B5EF4-FFF2-40B4-BE49-F238E27FC236}">
                <a16:creationId xmlns:a16="http://schemas.microsoft.com/office/drawing/2014/main" id="{D70D4873-0462-8389-5E27-E1103EE54D8D}"/>
              </a:ext>
            </a:extLst>
          </p:cNvPr>
          <p:cNvPicPr>
            <a:picLocks noGrp="1" noChangeAspect="1"/>
          </p:cNvPicPr>
          <p:nvPr>
            <p:ph type="pic" sz="quarter" idx="16"/>
          </p:nvPr>
        </p:nvPicPr>
        <p:blipFill>
          <a:blip r:embed="rId3"/>
          <a:srcRect l="3490" r="3490"/>
          <a:stretch/>
        </p:blipFill>
        <p:spPr>
          <a:xfrm>
            <a:off x="489475" y="1111167"/>
            <a:ext cx="5667968" cy="4562254"/>
          </a:xfrm>
        </p:spPr>
      </p:pic>
      <p:grpSp>
        <p:nvGrpSpPr>
          <p:cNvPr id="19" name="Group 18">
            <a:extLst>
              <a:ext uri="{FF2B5EF4-FFF2-40B4-BE49-F238E27FC236}">
                <a16:creationId xmlns:a16="http://schemas.microsoft.com/office/drawing/2014/main" id="{5ACCFC66-544A-FED8-EE44-DEAFBF917DA4}"/>
              </a:ext>
            </a:extLst>
          </p:cNvPr>
          <p:cNvGrpSpPr/>
          <p:nvPr/>
        </p:nvGrpSpPr>
        <p:grpSpPr>
          <a:xfrm>
            <a:off x="6423949" y="1115004"/>
            <a:ext cx="5158452" cy="2010807"/>
            <a:chOff x="606551" y="1109950"/>
            <a:chExt cx="7760209" cy="2010807"/>
          </a:xfrm>
        </p:grpSpPr>
        <p:sp>
          <p:nvSpPr>
            <p:cNvPr id="11" name="TextBox 10">
              <a:extLst>
                <a:ext uri="{FF2B5EF4-FFF2-40B4-BE49-F238E27FC236}">
                  <a16:creationId xmlns:a16="http://schemas.microsoft.com/office/drawing/2014/main" id="{646D8F1B-8FD6-C76E-7888-2A87B982EA0C}"/>
                </a:ext>
              </a:extLst>
            </p:cNvPr>
            <p:cNvSpPr txBox="1"/>
            <p:nvPr/>
          </p:nvSpPr>
          <p:spPr>
            <a:xfrm>
              <a:off x="606551" y="1109950"/>
              <a:ext cx="6272331" cy="646331"/>
            </a:xfrm>
            <a:prstGeom prst="rect">
              <a:avLst/>
            </a:prstGeom>
            <a:noFill/>
          </p:spPr>
          <p:txBody>
            <a:bodyPr wrap="square">
              <a:spAutoFit/>
            </a:bodyPr>
            <a:lstStyle/>
            <a:p>
              <a:r>
                <a:rPr lang="en-US" sz="1800" dirty="0">
                  <a:solidFill>
                    <a:schemeClr val="bg1"/>
                  </a:solidFill>
                </a:rPr>
                <a:t>Evaluation Metrics</a:t>
              </a:r>
            </a:p>
            <a:p>
              <a:endParaRPr lang="en-US" b="1" dirty="0">
                <a:solidFill>
                  <a:schemeClr val="tx2"/>
                </a:solidFill>
              </a:endParaRPr>
            </a:p>
          </p:txBody>
        </p:sp>
        <p:sp>
          <p:nvSpPr>
            <p:cNvPr id="12" name="TextBox 11">
              <a:extLst>
                <a:ext uri="{FF2B5EF4-FFF2-40B4-BE49-F238E27FC236}">
                  <a16:creationId xmlns:a16="http://schemas.microsoft.com/office/drawing/2014/main" id="{3AF48A33-2600-2650-70C4-852A7F9669F6}"/>
                </a:ext>
              </a:extLst>
            </p:cNvPr>
            <p:cNvSpPr txBox="1"/>
            <p:nvPr/>
          </p:nvSpPr>
          <p:spPr>
            <a:xfrm>
              <a:off x="761999" y="1479282"/>
              <a:ext cx="7604761" cy="1641475"/>
            </a:xfrm>
            <a:prstGeom prst="rect">
              <a:avLst/>
            </a:prstGeom>
            <a:noFill/>
          </p:spPr>
          <p:txBody>
            <a:bodyPr wrap="square">
              <a:spAutoFit/>
            </a:bodyPr>
            <a:lstStyle/>
            <a:p>
              <a:pPr marL="285750" indent="-285750">
                <a:spcBef>
                  <a:spcPts val="100"/>
                </a:spcBef>
                <a:spcAft>
                  <a:spcPts val="300"/>
                </a:spcAft>
                <a:buClr>
                  <a:srgbClr val="FFE700"/>
                </a:buClr>
                <a:buFont typeface="Arial" pitchFamily="34" charset="0"/>
                <a:buChar char="•"/>
              </a:pPr>
              <a:r>
                <a:rPr lang="en-US" sz="1400" dirty="0">
                  <a:solidFill>
                    <a:schemeClr val="bg1"/>
                  </a:solidFill>
                </a:rPr>
                <a:t>Mean Squared Error (MSE): 10224.20</a:t>
              </a:r>
            </a:p>
            <a:p>
              <a:pPr marL="285750" indent="-285750">
                <a:spcBef>
                  <a:spcPts val="100"/>
                </a:spcBef>
                <a:spcAft>
                  <a:spcPts val="300"/>
                </a:spcAft>
                <a:buClr>
                  <a:srgbClr val="FFE700"/>
                </a:buClr>
                <a:buFont typeface="Arial" pitchFamily="34" charset="0"/>
                <a:buChar char="•"/>
              </a:pPr>
              <a:r>
                <a:rPr lang="en-US" sz="1400" dirty="0">
                  <a:solidFill>
                    <a:schemeClr val="bg1"/>
                  </a:solidFill>
                </a:rPr>
                <a:t>Root Mean Squared Error (RMSE): 101.11</a:t>
              </a:r>
            </a:p>
            <a:p>
              <a:pPr marL="285750" indent="-285750">
                <a:spcBef>
                  <a:spcPts val="100"/>
                </a:spcBef>
                <a:spcAft>
                  <a:spcPts val="300"/>
                </a:spcAft>
                <a:buClr>
                  <a:srgbClr val="FFE700"/>
                </a:buClr>
                <a:buFont typeface="Arial" pitchFamily="34" charset="0"/>
                <a:buChar char="•"/>
              </a:pPr>
              <a:r>
                <a:rPr lang="en-US" sz="1400" dirty="0">
                  <a:solidFill>
                    <a:schemeClr val="bg1"/>
                  </a:solidFill>
                </a:rPr>
                <a:t>Mean Absolute Error (MAE): 48.19</a:t>
              </a:r>
            </a:p>
            <a:p>
              <a:pPr marL="285750" indent="-285750">
                <a:spcBef>
                  <a:spcPts val="100"/>
                </a:spcBef>
                <a:spcAft>
                  <a:spcPts val="300"/>
                </a:spcAft>
                <a:buClr>
                  <a:srgbClr val="FFE700"/>
                </a:buClr>
                <a:buFont typeface="Arial" pitchFamily="34" charset="0"/>
                <a:buChar char="•"/>
              </a:pPr>
              <a:r>
                <a:rPr lang="en-US" sz="1400" dirty="0">
                  <a:solidFill>
                    <a:schemeClr val="bg1"/>
                  </a:solidFill>
                </a:rPr>
                <a:t>Explained Variance Score: 0.20</a:t>
              </a:r>
            </a:p>
            <a:p>
              <a:pPr marL="285750" indent="-285750">
                <a:spcBef>
                  <a:spcPts val="100"/>
                </a:spcBef>
                <a:spcAft>
                  <a:spcPts val="300"/>
                </a:spcAft>
                <a:buClr>
                  <a:srgbClr val="FFE700"/>
                </a:buClr>
                <a:buFont typeface="Arial" pitchFamily="34" charset="0"/>
                <a:buChar char="•"/>
              </a:pPr>
              <a:r>
                <a:rPr lang="en-US" sz="1400" dirty="0">
                  <a:solidFill>
                    <a:schemeClr val="bg1"/>
                  </a:solidFill>
                </a:rPr>
                <a:t>Median Absolute Error (</a:t>
              </a:r>
              <a:r>
                <a:rPr lang="en-US" sz="1400" dirty="0" err="1">
                  <a:solidFill>
                    <a:schemeClr val="bg1"/>
                  </a:solidFill>
                </a:rPr>
                <a:t>MedAE</a:t>
              </a:r>
              <a:r>
                <a:rPr lang="en-US" sz="1400" dirty="0">
                  <a:solidFill>
                    <a:schemeClr val="bg1"/>
                  </a:solidFill>
                </a:rPr>
                <a:t>): 19.95</a:t>
              </a:r>
            </a:p>
            <a:p>
              <a:pPr marL="285750" indent="-285750">
                <a:spcBef>
                  <a:spcPts val="100"/>
                </a:spcBef>
                <a:spcAft>
                  <a:spcPts val="300"/>
                </a:spcAft>
                <a:buClr>
                  <a:srgbClr val="FFE700"/>
                </a:buClr>
                <a:buFont typeface="Arial" pitchFamily="34" charset="0"/>
                <a:buChar char="•"/>
              </a:pPr>
              <a:r>
                <a:rPr lang="en-US" sz="1400" dirty="0">
                  <a:solidFill>
                    <a:schemeClr val="bg1"/>
                  </a:solidFill>
                </a:rPr>
                <a:t>R-squared (R2) Score: 0.20</a:t>
              </a:r>
            </a:p>
          </p:txBody>
        </p:sp>
      </p:grpSp>
      <p:grpSp>
        <p:nvGrpSpPr>
          <p:cNvPr id="6" name="Group 5">
            <a:extLst>
              <a:ext uri="{FF2B5EF4-FFF2-40B4-BE49-F238E27FC236}">
                <a16:creationId xmlns:a16="http://schemas.microsoft.com/office/drawing/2014/main" id="{F7A9B0BD-B1A1-C3C3-3B2E-34224E79484E}"/>
              </a:ext>
            </a:extLst>
          </p:cNvPr>
          <p:cNvGrpSpPr/>
          <p:nvPr/>
        </p:nvGrpSpPr>
        <p:grpSpPr>
          <a:xfrm>
            <a:off x="6460599" y="3269823"/>
            <a:ext cx="5158452" cy="1901215"/>
            <a:chOff x="606551" y="1109950"/>
            <a:chExt cx="7760209" cy="1510309"/>
          </a:xfrm>
        </p:grpSpPr>
        <p:sp>
          <p:nvSpPr>
            <p:cNvPr id="7" name="TextBox 6">
              <a:extLst>
                <a:ext uri="{FF2B5EF4-FFF2-40B4-BE49-F238E27FC236}">
                  <a16:creationId xmlns:a16="http://schemas.microsoft.com/office/drawing/2014/main" id="{DD4F81D6-CD18-3D08-EA36-887D1E7FFC7F}"/>
                </a:ext>
              </a:extLst>
            </p:cNvPr>
            <p:cNvSpPr txBox="1"/>
            <p:nvPr/>
          </p:nvSpPr>
          <p:spPr>
            <a:xfrm>
              <a:off x="606551" y="1109950"/>
              <a:ext cx="6272331" cy="369332"/>
            </a:xfrm>
            <a:prstGeom prst="rect">
              <a:avLst/>
            </a:prstGeom>
            <a:noFill/>
          </p:spPr>
          <p:txBody>
            <a:bodyPr wrap="square">
              <a:spAutoFit/>
            </a:bodyPr>
            <a:lstStyle/>
            <a:p>
              <a:r>
                <a:rPr lang="en-US" sz="1800" dirty="0">
                  <a:solidFill>
                    <a:schemeClr val="bg1"/>
                  </a:solidFill>
                </a:rPr>
                <a:t>Conclusion</a:t>
              </a:r>
              <a:endParaRPr lang="en-US" b="1" dirty="0">
                <a:solidFill>
                  <a:schemeClr val="tx2"/>
                </a:solidFill>
              </a:endParaRPr>
            </a:p>
          </p:txBody>
        </p:sp>
        <p:sp>
          <p:nvSpPr>
            <p:cNvPr id="8" name="TextBox 7">
              <a:extLst>
                <a:ext uri="{FF2B5EF4-FFF2-40B4-BE49-F238E27FC236}">
                  <a16:creationId xmlns:a16="http://schemas.microsoft.com/office/drawing/2014/main" id="{CDF9DDCC-58C7-3D8C-D587-15AEA5CB7B6F}"/>
                </a:ext>
              </a:extLst>
            </p:cNvPr>
            <p:cNvSpPr txBox="1"/>
            <p:nvPr/>
          </p:nvSpPr>
          <p:spPr>
            <a:xfrm>
              <a:off x="761999" y="1479282"/>
              <a:ext cx="7604761" cy="1140977"/>
            </a:xfrm>
            <a:prstGeom prst="rect">
              <a:avLst/>
            </a:prstGeom>
            <a:noFill/>
          </p:spPr>
          <p:txBody>
            <a:bodyPr wrap="square">
              <a:spAutoFit/>
            </a:bodyPr>
            <a:lstStyle/>
            <a:p>
              <a:pPr marL="285750" indent="-285750">
                <a:spcBef>
                  <a:spcPts val="100"/>
                </a:spcBef>
                <a:spcAft>
                  <a:spcPts val="300"/>
                </a:spcAft>
                <a:buClr>
                  <a:srgbClr val="FFE700"/>
                </a:buClr>
                <a:buFont typeface="Arial" pitchFamily="34" charset="0"/>
                <a:buChar char="•"/>
              </a:pPr>
              <a:r>
                <a:rPr lang="en-US" sz="1400" dirty="0">
                  <a:solidFill>
                    <a:schemeClr val="bg1"/>
                  </a:solidFill>
                </a:rPr>
                <a:t>The model explains 20% of the variance in transaction amounts, suggesting that there are other factors not captured by the current model.</a:t>
              </a:r>
            </a:p>
            <a:p>
              <a:pPr marL="285750" indent="-285750">
                <a:spcBef>
                  <a:spcPts val="100"/>
                </a:spcBef>
                <a:spcAft>
                  <a:spcPts val="300"/>
                </a:spcAft>
                <a:buClr>
                  <a:srgbClr val="FFE700"/>
                </a:buClr>
                <a:buFont typeface="Arial" pitchFamily="34" charset="0"/>
                <a:buChar char="•"/>
              </a:pPr>
              <a:r>
                <a:rPr lang="en-US" sz="1400" dirty="0">
                  <a:solidFill>
                    <a:schemeClr val="bg1"/>
                  </a:solidFill>
                </a:rPr>
                <a:t>The model shows moderate performance in predicting transaction amounts, as indicated by metrics such as RMSE, MAE, and R-squared score.</a:t>
              </a:r>
            </a:p>
          </p:txBody>
        </p:sp>
      </p:grpSp>
    </p:spTree>
    <p:extLst>
      <p:ext uri="{BB962C8B-B14F-4D97-AF65-F5344CB8AC3E}">
        <p14:creationId xmlns:p14="http://schemas.microsoft.com/office/powerpoint/2010/main" val="208306984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8D135415-E100-F0B5-85C6-2432028A1D50}"/>
              </a:ext>
            </a:extLst>
          </p:cNvPr>
          <p:cNvSpPr>
            <a:spLocks noGrp="1"/>
          </p:cNvSpPr>
          <p:nvPr>
            <p:ph type="title"/>
          </p:nvPr>
        </p:nvSpPr>
        <p:spPr/>
        <p:txBody>
          <a:bodyPr/>
          <a:lstStyle/>
          <a:p>
            <a:r>
              <a:rPr lang="en-US" dirty="0"/>
              <a:t>Next Steps for Model Enhancement</a:t>
            </a:r>
          </a:p>
        </p:txBody>
      </p:sp>
      <p:sp>
        <p:nvSpPr>
          <p:cNvPr id="3" name="Date Placeholder 2">
            <a:extLst>
              <a:ext uri="{FF2B5EF4-FFF2-40B4-BE49-F238E27FC236}">
                <a16:creationId xmlns:a16="http://schemas.microsoft.com/office/drawing/2014/main" id="{4C06B66F-52A6-A65B-3FF1-8D94D0B20C06}"/>
              </a:ext>
            </a:extLst>
          </p:cNvPr>
          <p:cNvSpPr>
            <a:spLocks noGrp="1"/>
          </p:cNvSpPr>
          <p:nvPr>
            <p:ph type="dt" sz="half" idx="10"/>
          </p:nvPr>
        </p:nvSpPr>
        <p:spPr>
          <a:xfrm>
            <a:off x="1674025" y="6473800"/>
            <a:ext cx="1190638" cy="180000"/>
          </a:xfrm>
        </p:spPr>
        <p:txBody>
          <a:bodyPr/>
          <a:lstStyle/>
          <a:p>
            <a:fld id="{96C433C2-D5AC-42D8-A415-DF1235E3FE86}" type="datetime3">
              <a:rPr lang="en-US" smtClean="0"/>
              <a:t>11 May 2024</a:t>
            </a:fld>
            <a:endParaRPr lang="en-IN" dirty="0"/>
          </a:p>
        </p:txBody>
      </p:sp>
      <p:sp>
        <p:nvSpPr>
          <p:cNvPr id="5" name="Slide Number Placeholder 4">
            <a:extLst>
              <a:ext uri="{FF2B5EF4-FFF2-40B4-BE49-F238E27FC236}">
                <a16:creationId xmlns:a16="http://schemas.microsoft.com/office/drawing/2014/main" id="{A5A7B773-ED10-13F5-CA65-87E8A8F4B113}"/>
              </a:ext>
            </a:extLst>
          </p:cNvPr>
          <p:cNvSpPr>
            <a:spLocks noGrp="1"/>
          </p:cNvSpPr>
          <p:nvPr>
            <p:ph type="sldNum" sz="quarter" idx="12"/>
          </p:nvPr>
        </p:nvSpPr>
        <p:spPr>
          <a:xfrm>
            <a:off x="622603" y="6473800"/>
            <a:ext cx="662721" cy="180000"/>
          </a:xfrm>
        </p:spPr>
        <p:txBody>
          <a:bodyPr/>
          <a:lstStyle/>
          <a:p>
            <a:r>
              <a:rPr lang="en-GB"/>
              <a:t>Page </a:t>
            </a:r>
            <a:fld id="{F1BC30E3-FFE5-4B91-AA19-87A149EBB9EE}" type="slidenum">
              <a:rPr smtClean="0"/>
              <a:t>7</a:t>
            </a:fld>
            <a:endParaRPr/>
          </a:p>
        </p:txBody>
      </p:sp>
      <p:sp>
        <p:nvSpPr>
          <p:cNvPr id="12" name="TextBox 11">
            <a:extLst>
              <a:ext uri="{FF2B5EF4-FFF2-40B4-BE49-F238E27FC236}">
                <a16:creationId xmlns:a16="http://schemas.microsoft.com/office/drawing/2014/main" id="{3AF48A33-2600-2650-70C4-852A7F9669F6}"/>
              </a:ext>
            </a:extLst>
          </p:cNvPr>
          <p:cNvSpPr txBox="1"/>
          <p:nvPr/>
        </p:nvSpPr>
        <p:spPr>
          <a:xfrm>
            <a:off x="822685" y="1184246"/>
            <a:ext cx="10173264" cy="3937296"/>
          </a:xfrm>
          <a:prstGeom prst="rect">
            <a:avLst/>
          </a:prstGeom>
          <a:noFill/>
        </p:spPr>
        <p:txBody>
          <a:bodyPr wrap="square">
            <a:spAutoFit/>
          </a:bodyPr>
          <a:lstStyle/>
          <a:p>
            <a:pPr marL="285750" indent="-285750">
              <a:lnSpc>
                <a:spcPct val="150000"/>
              </a:lnSpc>
              <a:spcBef>
                <a:spcPts val="100"/>
              </a:spcBef>
              <a:spcAft>
                <a:spcPts val="300"/>
              </a:spcAft>
              <a:buClr>
                <a:srgbClr val="FFE700"/>
              </a:buClr>
              <a:buFont typeface="Arial" pitchFamily="34" charset="0"/>
              <a:buChar char="•"/>
            </a:pPr>
            <a:r>
              <a:rPr lang="en-US" b="1" dirty="0">
                <a:solidFill>
                  <a:schemeClr val="bg1"/>
                </a:solidFill>
              </a:rPr>
              <a:t>Explore More Features</a:t>
            </a:r>
            <a:r>
              <a:rPr lang="en-US" dirty="0">
                <a:solidFill>
                  <a:schemeClr val="bg1"/>
                </a:solidFill>
              </a:rPr>
              <a:t>: adding new features such as transaction frequency, average transaction amount, or average transaction amount per category.</a:t>
            </a:r>
          </a:p>
          <a:p>
            <a:pPr marL="285750" indent="-285750">
              <a:lnSpc>
                <a:spcPct val="150000"/>
              </a:lnSpc>
              <a:spcBef>
                <a:spcPts val="100"/>
              </a:spcBef>
              <a:spcAft>
                <a:spcPts val="300"/>
              </a:spcAft>
              <a:buClr>
                <a:srgbClr val="FFE700"/>
              </a:buClr>
              <a:buFont typeface="Arial" pitchFamily="34" charset="0"/>
              <a:buChar char="•"/>
            </a:pPr>
            <a:r>
              <a:rPr lang="en-US" b="1" dirty="0">
                <a:solidFill>
                  <a:schemeClr val="bg1"/>
                </a:solidFill>
              </a:rPr>
              <a:t>Feature Selection: </a:t>
            </a:r>
            <a:r>
              <a:rPr lang="en-US" dirty="0">
                <a:solidFill>
                  <a:schemeClr val="bg1"/>
                </a:solidFill>
              </a:rPr>
              <a:t>Refine feature selection methods to identify the most relevant features for the regression task.</a:t>
            </a:r>
          </a:p>
          <a:p>
            <a:pPr marL="285750" indent="-285750">
              <a:lnSpc>
                <a:spcPct val="150000"/>
              </a:lnSpc>
              <a:spcBef>
                <a:spcPts val="100"/>
              </a:spcBef>
              <a:spcAft>
                <a:spcPts val="300"/>
              </a:spcAft>
              <a:buClr>
                <a:srgbClr val="FFE700"/>
              </a:buClr>
              <a:buFont typeface="Arial" pitchFamily="34" charset="0"/>
              <a:buChar char="•"/>
            </a:pPr>
            <a:r>
              <a:rPr lang="en-US" b="1" dirty="0">
                <a:solidFill>
                  <a:schemeClr val="bg1"/>
                </a:solidFill>
              </a:rPr>
              <a:t>Experiment with Models</a:t>
            </a:r>
            <a:r>
              <a:rPr lang="en-US" dirty="0">
                <a:solidFill>
                  <a:schemeClr val="bg1"/>
                </a:solidFill>
              </a:rPr>
              <a:t>: try different regression algorithms like linear regression, support vector regression, or gradient boosting regression. Compare their performance metrics to identify the most suitable model for your dataset</a:t>
            </a:r>
          </a:p>
          <a:p>
            <a:pPr marL="285750" indent="-285750">
              <a:lnSpc>
                <a:spcPct val="150000"/>
              </a:lnSpc>
              <a:spcBef>
                <a:spcPts val="100"/>
              </a:spcBef>
              <a:spcAft>
                <a:spcPts val="300"/>
              </a:spcAft>
              <a:buClr>
                <a:srgbClr val="FFE700"/>
              </a:buClr>
              <a:buFont typeface="Arial" pitchFamily="34" charset="0"/>
              <a:buChar char="•"/>
            </a:pPr>
            <a:r>
              <a:rPr lang="en-US" b="1" dirty="0">
                <a:solidFill>
                  <a:schemeClr val="bg1"/>
                </a:solidFill>
              </a:rPr>
              <a:t>Use Ensemble Techniques</a:t>
            </a:r>
            <a:r>
              <a:rPr lang="en-US" dirty="0">
                <a:solidFill>
                  <a:schemeClr val="bg1"/>
                </a:solidFill>
              </a:rPr>
              <a:t>: consider exploring other ensemble techniques like gradient boosting regression or stacking regression.</a:t>
            </a:r>
          </a:p>
        </p:txBody>
      </p:sp>
    </p:spTree>
    <p:extLst>
      <p:ext uri="{BB962C8B-B14F-4D97-AF65-F5344CB8AC3E}">
        <p14:creationId xmlns:p14="http://schemas.microsoft.com/office/powerpoint/2010/main" val="220852551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8D135415-E100-F0B5-85C6-2432028A1D50}"/>
              </a:ext>
            </a:extLst>
          </p:cNvPr>
          <p:cNvSpPr>
            <a:spLocks noGrp="1"/>
          </p:cNvSpPr>
          <p:nvPr>
            <p:ph type="title"/>
          </p:nvPr>
        </p:nvSpPr>
        <p:spPr/>
        <p:txBody>
          <a:bodyPr/>
          <a:lstStyle/>
          <a:p>
            <a:r>
              <a:rPr lang="en-US" dirty="0"/>
              <a:t>Analysis Questions</a:t>
            </a:r>
          </a:p>
        </p:txBody>
      </p:sp>
      <p:sp>
        <p:nvSpPr>
          <p:cNvPr id="3" name="Date Placeholder 2">
            <a:extLst>
              <a:ext uri="{FF2B5EF4-FFF2-40B4-BE49-F238E27FC236}">
                <a16:creationId xmlns:a16="http://schemas.microsoft.com/office/drawing/2014/main" id="{4C06B66F-52A6-A65B-3FF1-8D94D0B20C06}"/>
              </a:ext>
            </a:extLst>
          </p:cNvPr>
          <p:cNvSpPr>
            <a:spLocks noGrp="1"/>
          </p:cNvSpPr>
          <p:nvPr>
            <p:ph type="dt" sz="half" idx="10"/>
          </p:nvPr>
        </p:nvSpPr>
        <p:spPr>
          <a:xfrm>
            <a:off x="1674025" y="6473800"/>
            <a:ext cx="1190638" cy="180000"/>
          </a:xfrm>
        </p:spPr>
        <p:txBody>
          <a:bodyPr/>
          <a:lstStyle/>
          <a:p>
            <a:fld id="{96C433C2-D5AC-42D8-A415-DF1235E3FE86}" type="datetime3">
              <a:rPr lang="en-US" smtClean="0"/>
              <a:t>11 May 2024</a:t>
            </a:fld>
            <a:endParaRPr lang="en-IN" dirty="0"/>
          </a:p>
        </p:txBody>
      </p:sp>
      <p:sp>
        <p:nvSpPr>
          <p:cNvPr id="5" name="Slide Number Placeholder 4">
            <a:extLst>
              <a:ext uri="{FF2B5EF4-FFF2-40B4-BE49-F238E27FC236}">
                <a16:creationId xmlns:a16="http://schemas.microsoft.com/office/drawing/2014/main" id="{A5A7B773-ED10-13F5-CA65-87E8A8F4B113}"/>
              </a:ext>
            </a:extLst>
          </p:cNvPr>
          <p:cNvSpPr>
            <a:spLocks noGrp="1"/>
          </p:cNvSpPr>
          <p:nvPr>
            <p:ph type="sldNum" sz="quarter" idx="12"/>
          </p:nvPr>
        </p:nvSpPr>
        <p:spPr>
          <a:xfrm>
            <a:off x="622603" y="6473800"/>
            <a:ext cx="662721" cy="180000"/>
          </a:xfrm>
        </p:spPr>
        <p:txBody>
          <a:bodyPr/>
          <a:lstStyle/>
          <a:p>
            <a:r>
              <a:rPr lang="en-GB"/>
              <a:t>Page </a:t>
            </a:r>
            <a:fld id="{F1BC30E3-FFE5-4B91-AA19-87A149EBB9EE}" type="slidenum">
              <a:rPr smtClean="0"/>
              <a:t>8</a:t>
            </a:fld>
            <a:endParaRPr/>
          </a:p>
        </p:txBody>
      </p:sp>
      <p:sp>
        <p:nvSpPr>
          <p:cNvPr id="12" name="TextBox 11">
            <a:extLst>
              <a:ext uri="{FF2B5EF4-FFF2-40B4-BE49-F238E27FC236}">
                <a16:creationId xmlns:a16="http://schemas.microsoft.com/office/drawing/2014/main" id="{3AF48A33-2600-2650-70C4-852A7F9669F6}"/>
              </a:ext>
            </a:extLst>
          </p:cNvPr>
          <p:cNvSpPr txBox="1"/>
          <p:nvPr/>
        </p:nvSpPr>
        <p:spPr>
          <a:xfrm>
            <a:off x="822684" y="1030147"/>
            <a:ext cx="10184839" cy="3937296"/>
          </a:xfrm>
          <a:prstGeom prst="rect">
            <a:avLst/>
          </a:prstGeom>
          <a:noFill/>
        </p:spPr>
        <p:txBody>
          <a:bodyPr wrap="square">
            <a:spAutoFit/>
          </a:bodyPr>
          <a:lstStyle/>
          <a:p>
            <a:pPr marL="285750" indent="-285750">
              <a:lnSpc>
                <a:spcPct val="150000"/>
              </a:lnSpc>
              <a:spcBef>
                <a:spcPts val="100"/>
              </a:spcBef>
              <a:spcAft>
                <a:spcPts val="300"/>
              </a:spcAft>
              <a:buClr>
                <a:srgbClr val="FFE700"/>
              </a:buClr>
              <a:buFont typeface="Arial" pitchFamily="34" charset="0"/>
              <a:buChar char="•"/>
            </a:pPr>
            <a:r>
              <a:rPr lang="en-US" b="1" dirty="0">
                <a:solidFill>
                  <a:schemeClr val="bg1"/>
                </a:solidFill>
              </a:rPr>
              <a:t>Confidence in Results:</a:t>
            </a:r>
          </a:p>
          <a:p>
            <a:pPr>
              <a:lnSpc>
                <a:spcPct val="150000"/>
              </a:lnSpc>
              <a:spcBef>
                <a:spcPts val="100"/>
              </a:spcBef>
              <a:spcAft>
                <a:spcPts val="300"/>
              </a:spcAft>
              <a:buClr>
                <a:srgbClr val="FFE700"/>
              </a:buClr>
            </a:pPr>
            <a:r>
              <a:rPr lang="en-US" dirty="0">
                <a:solidFill>
                  <a:schemeClr val="bg1"/>
                </a:solidFill>
              </a:rPr>
              <a:t>While the model's predictions may not be entirely precise, this could be attributed to the limitations of the available data or the inherent challenge of predicting with the provided information. Nevertheless, I acknowledge that there is still room for improvement and refinement.</a:t>
            </a:r>
          </a:p>
          <a:p>
            <a:pPr marL="285750" indent="-285750">
              <a:lnSpc>
                <a:spcPct val="150000"/>
              </a:lnSpc>
              <a:spcBef>
                <a:spcPts val="100"/>
              </a:spcBef>
              <a:spcAft>
                <a:spcPts val="300"/>
              </a:spcAft>
              <a:buClr>
                <a:srgbClr val="FFE700"/>
              </a:buClr>
              <a:buFont typeface="Arial" pitchFamily="34" charset="0"/>
              <a:buChar char="•"/>
            </a:pPr>
            <a:r>
              <a:rPr lang="en-US" b="1" dirty="0">
                <a:solidFill>
                  <a:schemeClr val="bg1"/>
                </a:solidFill>
              </a:rPr>
              <a:t>Evaluation Metrics:</a:t>
            </a:r>
          </a:p>
          <a:p>
            <a:pPr>
              <a:lnSpc>
                <a:spcPct val="150000"/>
              </a:lnSpc>
              <a:spcBef>
                <a:spcPts val="100"/>
              </a:spcBef>
              <a:spcAft>
                <a:spcPts val="300"/>
              </a:spcAft>
              <a:buClr>
                <a:srgbClr val="FFE700"/>
              </a:buClr>
            </a:pPr>
            <a:r>
              <a:rPr lang="en-US" dirty="0">
                <a:solidFill>
                  <a:schemeClr val="bg1"/>
                </a:solidFill>
              </a:rPr>
              <a:t>I am employing various metrics to assess the performance of our model. These metrics offer valuable insights into areas for enhancement and guide our ongoing efforts to enhance the accuracy and effectiveness of the model.</a:t>
            </a:r>
          </a:p>
        </p:txBody>
      </p:sp>
    </p:spTree>
    <p:extLst>
      <p:ext uri="{BB962C8B-B14F-4D97-AF65-F5344CB8AC3E}">
        <p14:creationId xmlns:p14="http://schemas.microsoft.com/office/powerpoint/2010/main" val="404373707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3.1.22"/>
  <p:tag name="AS_OS" val="Microsoft Windows NT 10.0.19045.0"/>
  <p:tag name="AS_RELEASE_DATE" val="2023.07.14"/>
  <p:tag name="AS_TITLE" val="Aspose.Slides for .NET Standard 2.0"/>
  <p:tag name="AS_VERSION" val="23.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Custom 3">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73BAF0"/>
      </a:hlink>
      <a:folHlink>
        <a:srgbClr val="800080"/>
      </a:folHlink>
    </a:clrScheme>
    <a:fontScheme name="Custom 1">
      <a:majorFont>
        <a:latin typeface="EYInterstate Light"/>
        <a:ea typeface="EYInterstate Light"/>
        <a:cs typeface="Arial"/>
      </a:majorFont>
      <a:minorFont>
        <a:latin typeface="EYInterstate Light"/>
        <a:ea typeface="EYInterstate Light"/>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4C2B84F877D6F42B2B6F9EE45301172" ma:contentTypeVersion="14" ma:contentTypeDescription="Create a new document." ma:contentTypeScope="" ma:versionID="18d82d8bb0f5fcdaddeaa36e06859e47">
  <xsd:schema xmlns:xsd="http://www.w3.org/2001/XMLSchema" xmlns:xs="http://www.w3.org/2001/XMLSchema" xmlns:p="http://schemas.microsoft.com/office/2006/metadata/properties" xmlns:ns2="af9426bb-ab80-4dc9-947c-7ea4d2a33510" xmlns:ns3="a5054dbf-f045-4b2b-b004-67537ef8e54d" targetNamespace="http://schemas.microsoft.com/office/2006/metadata/properties" ma:root="true" ma:fieldsID="bc094d0bb3d6fa572f280a9a4fb9333f" ns2:_="" ns3:_="">
    <xsd:import namespace="af9426bb-ab80-4dc9-947c-7ea4d2a33510"/>
    <xsd:import namespace="a5054dbf-f045-4b2b-b004-67537ef8e54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f9426bb-ab80-4dc9-947c-7ea4d2a335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054dbf-f045-4b2b-b004-67537ef8e54d"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a86b5989-b688-4935-a243-def5ffb3f1fc}" ma:internalName="TaxCatchAll" ma:showField="CatchAllData" ma:web="a5054dbf-f045-4b2b-b004-67537ef8e54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a5054dbf-f045-4b2b-b004-67537ef8e54d" xsi:nil="true"/>
    <lcf76f155ced4ddcb4097134ff3c332f xmlns="af9426bb-ab80-4dc9-947c-7ea4d2a33510">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F3C2E6-661C-4D61-B505-68501BF4DE50}">
  <ds:schemaRefs>
    <ds:schemaRef ds:uri="a5054dbf-f045-4b2b-b004-67537ef8e54d"/>
    <ds:schemaRef ds:uri="af9426bb-ab80-4dc9-947c-7ea4d2a335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DC48D2B-4AFE-4E71-B73E-441022B881AA}">
  <ds:schemaRefs>
    <ds:schemaRef ds:uri="a5054dbf-f045-4b2b-b004-67537ef8e54d"/>
    <ds:schemaRef ds:uri="af9426bb-ab80-4dc9-947c-7ea4d2a3351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2656D30-0F27-4191-AE63-77EDD33180D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3595</TotalTime>
  <Words>657</Words>
  <Application>Microsoft Office PowerPoint</Application>
  <PresentationFormat>Widescreen</PresentationFormat>
  <Paragraphs>75</Paragraphs>
  <Slides>8</Slides>
  <Notes>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8" baseType="lpstr">
      <vt:lpstr>Arial</vt:lpstr>
      <vt:lpstr>Calibri</vt:lpstr>
      <vt:lpstr>Calibri Light</vt:lpstr>
      <vt:lpstr>EYInterstate Light</vt:lpstr>
      <vt:lpstr>EYInterstate Regular</vt:lpstr>
      <vt:lpstr>Georgia</vt:lpstr>
      <vt:lpstr>Söhne</vt:lpstr>
      <vt:lpstr>EY dark background</vt:lpstr>
      <vt:lpstr>Custom Design</vt:lpstr>
      <vt:lpstr>think-cell Slide</vt:lpstr>
      <vt:lpstr>A case study for trasaction amount prediction</vt:lpstr>
      <vt:lpstr>Assumptions</vt:lpstr>
      <vt:lpstr>Dataset Analysis: Distribution of Transaction Amounts</vt:lpstr>
      <vt:lpstr>Handling Imbalanced Data</vt:lpstr>
      <vt:lpstr>Model Development Process Overview</vt:lpstr>
      <vt:lpstr>Model Evaluation Results</vt:lpstr>
      <vt:lpstr>Next Steps for Model Enhancement</vt:lpstr>
      <vt:lpstr>Analysis 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rah R Unterhalter</dc:creator>
  <cp:lastModifiedBy>Jesus Blanquer Carot</cp:lastModifiedBy>
  <cp:revision>24</cp:revision>
  <dcterms:created xsi:type="dcterms:W3CDTF">2023-11-20T19:06:48Z</dcterms:created>
  <dcterms:modified xsi:type="dcterms:W3CDTF">2024-05-11T09:2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C2B84F877D6F42B2B6F9EE45301172</vt:lpwstr>
  </property>
  <property fmtid="{D5CDD505-2E9C-101B-9397-08002B2CF9AE}" pid="3" name="MediaServiceImageTags">
    <vt:lpwstr/>
  </property>
</Properties>
</file>